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440" r:id="rId5"/>
    <p:sldId id="256" r:id="rId6"/>
    <p:sldId id="442" r:id="rId7"/>
    <p:sldId id="436" r:id="rId8"/>
  </p:sldIdLst>
  <p:sldSz cx="9144000" cy="5143500" type="screen16x9"/>
  <p:notesSz cx="6858000" cy="91440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orient="horz" pos="32">
          <p15:clr>
            <a:srgbClr val="A4A3A4"/>
          </p15:clr>
        </p15:guide>
        <p15:guide id="3" orient="horz" pos="100">
          <p15:clr>
            <a:srgbClr val="A4A3A4"/>
          </p15:clr>
        </p15:guide>
        <p15:guide id="4" orient="horz" pos="463">
          <p15:clr>
            <a:srgbClr val="A4A3A4"/>
          </p15:clr>
        </p15:guide>
        <p15:guide id="5" orient="horz" pos="2981">
          <p15:clr>
            <a:srgbClr val="A4A3A4"/>
          </p15:clr>
        </p15:guide>
        <p15:guide id="6" orient="horz" pos="3003">
          <p15:clr>
            <a:srgbClr val="A4A3A4"/>
          </p15:clr>
        </p15:guide>
        <p15:guide id="7" orient="horz" pos="3117">
          <p15:clr>
            <a:srgbClr val="A4A3A4"/>
          </p15:clr>
        </p15:guide>
        <p15:guide id="8" orient="horz" pos="577">
          <p15:clr>
            <a:srgbClr val="A4A3A4"/>
          </p15:clr>
        </p15:guide>
        <p15:guide id="9" orient="horz" pos="2890">
          <p15:clr>
            <a:srgbClr val="A4A3A4"/>
          </p15:clr>
        </p15:guide>
        <p15:guide id="10" pos="295">
          <p15:clr>
            <a:srgbClr val="A4A3A4"/>
          </p15:clr>
        </p15:guide>
        <p15:guide id="11" pos="5602">
          <p15:clr>
            <a:srgbClr val="A4A3A4"/>
          </p15:clr>
        </p15:guide>
        <p15:guide id="12" pos="2880">
          <p15:clr>
            <a:srgbClr val="A4A3A4"/>
          </p15:clr>
        </p15:guide>
        <p15:guide id="13" pos="4830">
          <p15:clr>
            <a:srgbClr val="A4A3A4"/>
          </p15:clr>
        </p15:guide>
        <p15:guide id="14" pos="2767">
          <p15:clr>
            <a:srgbClr val="A4A3A4"/>
          </p15:clr>
        </p15:guide>
        <p15:guide id="15" pos="2993">
          <p15:clr>
            <a:srgbClr val="A4A3A4"/>
          </p15:clr>
        </p15:guide>
        <p15:guide id="16" pos="5511">
          <p15:clr>
            <a:srgbClr val="A4A3A4"/>
          </p15:clr>
        </p15:guide>
        <p15:guide id="17" orient="horz" pos="1439">
          <p15:clr>
            <a:srgbClr val="A4A3A4"/>
          </p15:clr>
        </p15:guide>
        <p15:guide id="18" pos="2744">
          <p15:clr>
            <a:srgbClr val="A4A3A4"/>
          </p15:clr>
        </p15:guide>
        <p15:guide id="19" pos="297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98A6"/>
    <a:srgbClr val="737373"/>
    <a:srgbClr val="4C5861"/>
    <a:srgbClr val="1F2326"/>
    <a:srgbClr val="5E6C77"/>
    <a:srgbClr val="4DC1CB"/>
    <a:srgbClr val="394249"/>
    <a:srgbClr val="788691"/>
    <a:srgbClr val="340000"/>
    <a:srgbClr val="88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44DBB7-B0EC-6C43-BEBE-A6000874D078}" v="51" dt="2020-04-19T11:48:02.9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576" autoAdjust="0"/>
    <p:restoredTop sz="96208" autoAdjust="0"/>
  </p:normalViewPr>
  <p:slideViewPr>
    <p:cSldViewPr snapToObjects="1">
      <p:cViewPr varScale="1">
        <p:scale>
          <a:sx n="153" d="100"/>
          <a:sy n="153" d="100"/>
        </p:scale>
        <p:origin x="576" y="168"/>
      </p:cViewPr>
      <p:guideLst>
        <p:guide orient="horz" pos="1620"/>
        <p:guide orient="horz" pos="32"/>
        <p:guide orient="horz" pos="100"/>
        <p:guide orient="horz" pos="463"/>
        <p:guide orient="horz" pos="2981"/>
        <p:guide orient="horz" pos="3003"/>
        <p:guide orient="horz" pos="3117"/>
        <p:guide orient="horz" pos="577"/>
        <p:guide orient="horz" pos="2890"/>
        <p:guide pos="295"/>
        <p:guide pos="5602"/>
        <p:guide pos="2880"/>
        <p:guide pos="4830"/>
        <p:guide pos="2767"/>
        <p:guide pos="2993"/>
        <p:guide pos="5511"/>
        <p:guide orient="horz" pos="1439"/>
        <p:guide pos="2744"/>
        <p:guide pos="29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9" d="100"/>
        <a:sy n="139" d="100"/>
      </p:scale>
      <p:origin x="0" y="0"/>
    </p:cViewPr>
  </p:sorterViewPr>
  <p:notesViewPr>
    <p:cSldViewPr snapToObjects="1">
      <p:cViewPr varScale="1">
        <p:scale>
          <a:sx n="68" d="100"/>
          <a:sy n="68" d="100"/>
        </p:scale>
        <p:origin x="-3010" y="-77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clId="Web-{B8452DD1-57CB-53F4-D26D-849DA3626ACC}"/>
  </pc:docChgLst>
  <pc:docChgLst>
    <pc:chgData name="Christopher Schulz" userId="c7a37fbc-fc18-47fa-bc4e-1f96df76f530" providerId="ADAL" clId="{30E24DF9-1E64-5E49-B04B-9EB3D30DEAB4}"/>
    <pc:docChg chg="modSld">
      <pc:chgData name="Christopher Schulz" userId="c7a37fbc-fc18-47fa-bc4e-1f96df76f530" providerId="ADAL" clId="{30E24DF9-1E64-5E49-B04B-9EB3D30DEAB4}" dt="2020-02-13T18:38:31.586" v="2" actId="1076"/>
      <pc:docMkLst>
        <pc:docMk/>
      </pc:docMkLst>
      <pc:sldChg chg="modSp">
        <pc:chgData name="Christopher Schulz" userId="c7a37fbc-fc18-47fa-bc4e-1f96df76f530" providerId="ADAL" clId="{30E24DF9-1E64-5E49-B04B-9EB3D30DEAB4}" dt="2020-02-13T18:38:31.586" v="2" actId="1076"/>
        <pc:sldMkLst>
          <pc:docMk/>
          <pc:sldMk cId="3209056058" sldId="440"/>
        </pc:sldMkLst>
        <pc:spChg chg="mod">
          <ac:chgData name="Christopher Schulz" userId="c7a37fbc-fc18-47fa-bc4e-1f96df76f530" providerId="ADAL" clId="{30E24DF9-1E64-5E49-B04B-9EB3D30DEAB4}" dt="2020-02-13T18:38:31.586" v="2" actId="1076"/>
          <ac:spMkLst>
            <pc:docMk/>
            <pc:sldMk cId="3209056058" sldId="440"/>
            <ac:spMk id="12" creationId="{32EF9AB9-F3CC-6340-AFA5-FD80FF545825}"/>
          </ac:spMkLst>
        </pc:spChg>
        <pc:picChg chg="mod">
          <ac:chgData name="Christopher Schulz" userId="c7a37fbc-fc18-47fa-bc4e-1f96df76f530" providerId="ADAL" clId="{30E24DF9-1E64-5E49-B04B-9EB3D30DEAB4}" dt="2020-02-13T18:38:27.283" v="1" actId="18331"/>
          <ac:picMkLst>
            <pc:docMk/>
            <pc:sldMk cId="3209056058" sldId="440"/>
            <ac:picMk id="5" creationId="{CB4EEF46-D9DA-C346-B025-B21C8C8541AB}"/>
          </ac:picMkLst>
        </pc:picChg>
      </pc:sldChg>
    </pc:docChg>
  </pc:docChgLst>
  <pc:docChgLst>
    <pc:chgData name="Schulz, Christopher" userId="cad6b6ae-751c-46c4-aef3-338098c68775" providerId="ADAL" clId="{66B0C932-0ED8-4726-AC63-14B00439D6B8}"/>
  </pc:docChgLst>
  <pc:docChgLst>
    <pc:chgData name="Christopher Schulz" userId="c7a37fbc-fc18-47fa-bc4e-1f96df76f530" providerId="ADAL" clId="{D3475D91-1DB2-6340-86DE-860237F9C8A3}"/>
    <pc:docChg chg="undo redo custSel addSld delSld modSld sldOrd">
      <pc:chgData name="Christopher Schulz" userId="c7a37fbc-fc18-47fa-bc4e-1f96df76f530" providerId="ADAL" clId="{D3475D91-1DB2-6340-86DE-860237F9C8A3}" dt="2019-10-19T18:59:17.044" v="6022" actId="20577"/>
      <pc:docMkLst>
        <pc:docMk/>
      </pc:docMkLst>
      <pc:sldChg chg="addSp delSp modSp">
        <pc:chgData name="Christopher Schulz" userId="c7a37fbc-fc18-47fa-bc4e-1f96df76f530" providerId="ADAL" clId="{D3475D91-1DB2-6340-86DE-860237F9C8A3}" dt="2019-10-19T18:58:15.986" v="6014" actId="20577"/>
        <pc:sldMkLst>
          <pc:docMk/>
          <pc:sldMk cId="3168066364" sldId="256"/>
        </pc:sldMkLst>
        <pc:spChg chg="mod">
          <ac:chgData name="Christopher Schulz" userId="c7a37fbc-fc18-47fa-bc4e-1f96df76f530" providerId="ADAL" clId="{D3475D91-1DB2-6340-86DE-860237F9C8A3}" dt="2019-10-17T05:12:37.879" v="36" actId="20577"/>
          <ac:spMkLst>
            <pc:docMk/>
            <pc:sldMk cId="3168066364" sldId="256"/>
            <ac:spMk id="2" creationId="{D68C5A50-1913-4507-988E-B3319E45906C}"/>
          </ac:spMkLst>
        </pc:spChg>
        <pc:spChg chg="mod">
          <ac:chgData name="Christopher Schulz" userId="c7a37fbc-fc18-47fa-bc4e-1f96df76f530" providerId="ADAL" clId="{D3475D91-1DB2-6340-86DE-860237F9C8A3}" dt="2019-10-17T05:12:53.831" v="72" actId="20577"/>
          <ac:spMkLst>
            <pc:docMk/>
            <pc:sldMk cId="3168066364" sldId="256"/>
            <ac:spMk id="3" creationId="{5F0B0340-28DE-4C04-BA5A-1EB9C2F0782D}"/>
          </ac:spMkLst>
        </pc:spChg>
        <pc:spChg chg="del">
          <ac:chgData name="Christopher Schulz" userId="c7a37fbc-fc18-47fa-bc4e-1f96df76f530" providerId="ADAL" clId="{D3475D91-1DB2-6340-86DE-860237F9C8A3}" dt="2019-10-17T05:11:07.870" v="0" actId="478"/>
          <ac:spMkLst>
            <pc:docMk/>
            <pc:sldMk cId="3168066364" sldId="256"/>
            <ac:spMk id="4" creationId="{0B114C2E-D5BA-49C4-B31F-CDD48FCACD43}"/>
          </ac:spMkLst>
        </pc:spChg>
        <pc:graphicFrameChg chg="add del">
          <ac:chgData name="Christopher Schulz" userId="c7a37fbc-fc18-47fa-bc4e-1f96df76f530" providerId="ADAL" clId="{D3475D91-1DB2-6340-86DE-860237F9C8A3}" dt="2019-10-17T05:11:09.945" v="2"/>
          <ac:graphicFrameMkLst>
            <pc:docMk/>
            <pc:sldMk cId="3168066364" sldId="256"/>
            <ac:graphicFrameMk id="5" creationId="{C20D92CC-0C7A-6749-A35A-828E0D771E26}"/>
          </ac:graphicFrameMkLst>
        </pc:graphicFrameChg>
        <pc:graphicFrameChg chg="add mod modGraphic">
          <ac:chgData name="Christopher Schulz" userId="c7a37fbc-fc18-47fa-bc4e-1f96df76f530" providerId="ADAL" clId="{D3475D91-1DB2-6340-86DE-860237F9C8A3}" dt="2019-10-19T18:58:15.986" v="6014" actId="20577"/>
          <ac:graphicFrameMkLst>
            <pc:docMk/>
            <pc:sldMk cId="3168066364" sldId="256"/>
            <ac:graphicFrameMk id="6" creationId="{78112048-7899-1C44-B8EC-A001E6C13E15}"/>
          </ac:graphicFrameMkLst>
        </pc:graphicFrameChg>
      </pc:sldChg>
      <pc:sldChg chg="addSp delSp modSp add">
        <pc:chgData name="Christopher Schulz" userId="c7a37fbc-fc18-47fa-bc4e-1f96df76f530" providerId="ADAL" clId="{D3475D91-1DB2-6340-86DE-860237F9C8A3}" dt="2019-10-19T18:47:03.696" v="5734" actId="13926"/>
        <pc:sldMkLst>
          <pc:docMk/>
          <pc:sldMk cId="1432570934" sldId="428"/>
        </pc:sldMkLst>
        <pc:graphicFrameChg chg="add mod modGraphic">
          <ac:chgData name="Christopher Schulz" userId="c7a37fbc-fc18-47fa-bc4e-1f96df76f530" providerId="ADAL" clId="{D3475D91-1DB2-6340-86DE-860237F9C8A3}" dt="2019-10-19T18:47:03.696" v="5734" actId="13926"/>
          <ac:graphicFrameMkLst>
            <pc:docMk/>
            <pc:sldMk cId="1432570934" sldId="428"/>
            <ac:graphicFrameMk id="5" creationId="{53782371-3C58-B941-A0BE-E63C5F98656D}"/>
          </ac:graphicFrameMkLst>
        </pc:graphicFrameChg>
        <pc:graphicFrameChg chg="del">
          <ac:chgData name="Christopher Schulz" userId="c7a37fbc-fc18-47fa-bc4e-1f96df76f530" providerId="ADAL" clId="{D3475D91-1DB2-6340-86DE-860237F9C8A3}" dt="2019-10-17T05:13:46.729" v="81" actId="478"/>
          <ac:graphicFrameMkLst>
            <pc:docMk/>
            <pc:sldMk cId="1432570934" sldId="428"/>
            <ac:graphicFrameMk id="6" creationId="{78112048-7899-1C44-B8EC-A001E6C13E15}"/>
          </ac:graphicFrameMkLst>
        </pc:graphicFrameChg>
      </pc:sldChg>
      <pc:sldChg chg="addSp delSp modSp add ord">
        <pc:chgData name="Christopher Schulz" userId="c7a37fbc-fc18-47fa-bc4e-1f96df76f530" providerId="ADAL" clId="{D3475D91-1DB2-6340-86DE-860237F9C8A3}" dt="2019-10-19T18:58:58.879" v="6018" actId="20577"/>
        <pc:sldMkLst>
          <pc:docMk/>
          <pc:sldMk cId="269611952" sldId="430"/>
        </pc:sldMkLst>
        <pc:graphicFrameChg chg="add del mod modGraphic">
          <ac:chgData name="Christopher Schulz" userId="c7a37fbc-fc18-47fa-bc4e-1f96df76f530" providerId="ADAL" clId="{D3475D91-1DB2-6340-86DE-860237F9C8A3}" dt="2019-10-19T18:54:03.632" v="5919" actId="478"/>
          <ac:graphicFrameMkLst>
            <pc:docMk/>
            <pc:sldMk cId="269611952" sldId="430"/>
            <ac:graphicFrameMk id="4" creationId="{3BEA057F-2C88-7048-9508-81D1FE8492D2}"/>
          </ac:graphicFrameMkLst>
        </pc:graphicFrameChg>
        <pc:graphicFrameChg chg="add mod modGraphic">
          <ac:chgData name="Christopher Schulz" userId="c7a37fbc-fc18-47fa-bc4e-1f96df76f530" providerId="ADAL" clId="{D3475D91-1DB2-6340-86DE-860237F9C8A3}" dt="2019-10-19T18:58:58.879" v="6018" actId="20577"/>
          <ac:graphicFrameMkLst>
            <pc:docMk/>
            <pc:sldMk cId="269611952" sldId="430"/>
            <ac:graphicFrameMk id="5" creationId="{D4A21EAF-1079-9045-B1A4-CA2DA7847228}"/>
          </ac:graphicFrameMkLst>
        </pc:graphicFrameChg>
        <pc:graphicFrameChg chg="add del modGraphic">
          <ac:chgData name="Christopher Schulz" userId="c7a37fbc-fc18-47fa-bc4e-1f96df76f530" providerId="ADAL" clId="{D3475D91-1DB2-6340-86DE-860237F9C8A3}" dt="2019-10-17T05:41:05.658" v="1315" actId="478"/>
          <ac:graphicFrameMkLst>
            <pc:docMk/>
            <pc:sldMk cId="269611952" sldId="430"/>
            <ac:graphicFrameMk id="5" creationId="{F38D475A-E751-2A4B-9480-839984D1C1E6}"/>
          </ac:graphicFrameMkLst>
        </pc:graphicFrameChg>
        <pc:graphicFrameChg chg="add del mod modGraphic">
          <ac:chgData name="Christopher Schulz" userId="c7a37fbc-fc18-47fa-bc4e-1f96df76f530" providerId="ADAL" clId="{D3475D91-1DB2-6340-86DE-860237F9C8A3}" dt="2019-10-17T05:45:00.271" v="1544" actId="478"/>
          <ac:graphicFrameMkLst>
            <pc:docMk/>
            <pc:sldMk cId="269611952" sldId="430"/>
            <ac:graphicFrameMk id="6" creationId="{157853EB-DE62-6647-88B4-6E5969CB59AC}"/>
          </ac:graphicFrameMkLst>
        </pc:graphicFrameChg>
      </pc:sldChg>
      <pc:sldChg chg="addSp delSp modSp add ord">
        <pc:chgData name="Christopher Schulz" userId="c7a37fbc-fc18-47fa-bc4e-1f96df76f530" providerId="ADAL" clId="{D3475D91-1DB2-6340-86DE-860237F9C8A3}" dt="2019-10-19T18:55:12.857" v="6002" actId="20577"/>
        <pc:sldMkLst>
          <pc:docMk/>
          <pc:sldMk cId="4149209076" sldId="431"/>
        </pc:sldMkLst>
        <pc:graphicFrameChg chg="add mod modGraphic">
          <ac:chgData name="Christopher Schulz" userId="c7a37fbc-fc18-47fa-bc4e-1f96df76f530" providerId="ADAL" clId="{D3475D91-1DB2-6340-86DE-860237F9C8A3}" dt="2019-10-19T18:55:12.857" v="6002" actId="20577"/>
          <ac:graphicFrameMkLst>
            <pc:docMk/>
            <pc:sldMk cId="4149209076" sldId="431"/>
            <ac:graphicFrameMk id="4" creationId="{9E31AC4F-82BF-F54A-ABA7-51F70B62D1E1}"/>
          </ac:graphicFrameMkLst>
        </pc:graphicFrameChg>
        <pc:graphicFrameChg chg="add del mod modGraphic">
          <ac:chgData name="Christopher Schulz" userId="c7a37fbc-fc18-47fa-bc4e-1f96df76f530" providerId="ADAL" clId="{D3475D91-1DB2-6340-86DE-860237F9C8A3}" dt="2019-10-19T18:44:47.577" v="5669" actId="478"/>
          <ac:graphicFrameMkLst>
            <pc:docMk/>
            <pc:sldMk cId="4149209076" sldId="431"/>
            <ac:graphicFrameMk id="5" creationId="{2F859671-F7F7-8E4A-A747-73DD7D05C4A0}"/>
          </ac:graphicFrameMkLst>
        </pc:graphicFrameChg>
        <pc:graphicFrameChg chg="add del mod">
          <ac:chgData name="Christopher Schulz" userId="c7a37fbc-fc18-47fa-bc4e-1f96df76f530" providerId="ADAL" clId="{D3475D91-1DB2-6340-86DE-860237F9C8A3}" dt="2019-10-19T18:53:10.176" v="5901"/>
          <ac:graphicFrameMkLst>
            <pc:docMk/>
            <pc:sldMk cId="4149209076" sldId="431"/>
            <ac:graphicFrameMk id="6" creationId="{6E8DD67C-C96B-AD45-A332-9AA0927499A4}"/>
          </ac:graphicFrameMkLst>
        </pc:graphicFrameChg>
        <pc:graphicFrameChg chg="add mod">
          <ac:chgData name="Christopher Schulz" userId="c7a37fbc-fc18-47fa-bc4e-1f96df76f530" providerId="ADAL" clId="{D3475D91-1DB2-6340-86DE-860237F9C8A3}" dt="2019-10-19T18:53:53.335" v="5918" actId="1035"/>
          <ac:graphicFrameMkLst>
            <pc:docMk/>
            <pc:sldMk cId="4149209076" sldId="431"/>
            <ac:graphicFrameMk id="7" creationId="{C9872F59-0A6E-6449-94F7-0CF6C97B4C81}"/>
          </ac:graphicFrameMkLst>
        </pc:graphicFrameChg>
      </pc:sldChg>
      <pc:sldChg chg="addSp delSp modSp add del ord">
        <pc:chgData name="Christopher Schulz" userId="c7a37fbc-fc18-47fa-bc4e-1f96df76f530" providerId="ADAL" clId="{D3475D91-1DB2-6340-86DE-860237F9C8A3}" dt="2019-10-19T18:45:26.420" v="5675" actId="2696"/>
        <pc:sldMkLst>
          <pc:docMk/>
          <pc:sldMk cId="3886120189" sldId="432"/>
        </pc:sldMkLst>
        <pc:graphicFrameChg chg="add del mod modGraphic">
          <ac:chgData name="Christopher Schulz" userId="c7a37fbc-fc18-47fa-bc4e-1f96df76f530" providerId="ADAL" clId="{D3475D91-1DB2-6340-86DE-860237F9C8A3}" dt="2019-10-19T18:44:09.802" v="5665" actId="478"/>
          <ac:graphicFrameMkLst>
            <pc:docMk/>
            <pc:sldMk cId="3886120189" sldId="432"/>
            <ac:graphicFrameMk id="4" creationId="{412162A5-92A0-5248-9285-9C84689E745E}"/>
          </ac:graphicFrameMkLst>
        </pc:graphicFrameChg>
        <pc:graphicFrameChg chg="add mod">
          <ac:chgData name="Christopher Schulz" userId="c7a37fbc-fc18-47fa-bc4e-1f96df76f530" providerId="ADAL" clId="{D3475D91-1DB2-6340-86DE-860237F9C8A3}" dt="2019-10-19T18:44:22.248" v="5668" actId="1076"/>
          <ac:graphicFrameMkLst>
            <pc:docMk/>
            <pc:sldMk cId="3886120189" sldId="432"/>
            <ac:graphicFrameMk id="5" creationId="{D4D763AA-AA5F-F54D-B60D-F3FC50ECCA2D}"/>
          </ac:graphicFrameMkLst>
        </pc:graphicFrameChg>
      </pc:sldChg>
      <pc:sldChg chg="addSp modSp add ord">
        <pc:chgData name="Christopher Schulz" userId="c7a37fbc-fc18-47fa-bc4e-1f96df76f530" providerId="ADAL" clId="{D3475D91-1DB2-6340-86DE-860237F9C8A3}" dt="2019-10-19T18:59:17.044" v="6022" actId="20577"/>
        <pc:sldMkLst>
          <pc:docMk/>
          <pc:sldMk cId="2682155137" sldId="433"/>
        </pc:sldMkLst>
        <pc:graphicFrameChg chg="add mod modGraphic">
          <ac:chgData name="Christopher Schulz" userId="c7a37fbc-fc18-47fa-bc4e-1f96df76f530" providerId="ADAL" clId="{D3475D91-1DB2-6340-86DE-860237F9C8A3}" dt="2019-10-19T18:59:17.044" v="6022" actId="20577"/>
          <ac:graphicFrameMkLst>
            <pc:docMk/>
            <pc:sldMk cId="2682155137" sldId="433"/>
            <ac:graphicFrameMk id="4" creationId="{C40E432C-AA28-D749-BB85-FFA7057CDF3E}"/>
          </ac:graphicFrameMkLst>
        </pc:graphicFrameChg>
        <pc:graphicFrameChg chg="add modGraphic">
          <ac:chgData name="Christopher Schulz" userId="c7a37fbc-fc18-47fa-bc4e-1f96df76f530" providerId="ADAL" clId="{D3475D91-1DB2-6340-86DE-860237F9C8A3}" dt="2019-10-17T06:14:27.751" v="3015" actId="13926"/>
          <ac:graphicFrameMkLst>
            <pc:docMk/>
            <pc:sldMk cId="2682155137" sldId="433"/>
            <ac:graphicFrameMk id="5" creationId="{10E0FAC1-310C-0143-AD00-556F6A0E79CB}"/>
          </ac:graphicFrameMkLst>
        </pc:graphicFrameChg>
      </pc:sldChg>
      <pc:sldChg chg="modSp add">
        <pc:chgData name="Christopher Schulz" userId="c7a37fbc-fc18-47fa-bc4e-1f96df76f530" providerId="ADAL" clId="{D3475D91-1DB2-6340-86DE-860237F9C8A3}" dt="2019-10-17T05:18:33.849" v="228" actId="20577"/>
        <pc:sldMkLst>
          <pc:docMk/>
          <pc:sldMk cId="3859421926" sldId="434"/>
        </pc:sldMkLst>
        <pc:spChg chg="mod">
          <ac:chgData name="Christopher Schulz" userId="c7a37fbc-fc18-47fa-bc4e-1f96df76f530" providerId="ADAL" clId="{D3475D91-1DB2-6340-86DE-860237F9C8A3}" dt="2019-10-17T05:18:06.124" v="152" actId="20577"/>
          <ac:spMkLst>
            <pc:docMk/>
            <pc:sldMk cId="3859421926" sldId="434"/>
            <ac:spMk id="2" creationId="{8C1B6A6A-451E-DD48-AB87-7C9009A7BAE8}"/>
          </ac:spMkLst>
        </pc:spChg>
        <pc:spChg chg="mod">
          <ac:chgData name="Christopher Schulz" userId="c7a37fbc-fc18-47fa-bc4e-1f96df76f530" providerId="ADAL" clId="{D3475D91-1DB2-6340-86DE-860237F9C8A3}" dt="2019-10-17T05:18:21.918" v="190" actId="20577"/>
          <ac:spMkLst>
            <pc:docMk/>
            <pc:sldMk cId="3859421926" sldId="434"/>
            <ac:spMk id="3" creationId="{DCCC5E82-FB56-CD41-AE7F-650A9A9C8DAC}"/>
          </ac:spMkLst>
        </pc:spChg>
        <pc:spChg chg="mod">
          <ac:chgData name="Christopher Schulz" userId="c7a37fbc-fc18-47fa-bc4e-1f96df76f530" providerId="ADAL" clId="{D3475D91-1DB2-6340-86DE-860237F9C8A3}" dt="2019-10-17T05:18:33.849" v="228" actId="20577"/>
          <ac:spMkLst>
            <pc:docMk/>
            <pc:sldMk cId="3859421926" sldId="434"/>
            <ac:spMk id="4" creationId="{64B54C9F-5CBC-1947-9E78-996503F54723}"/>
          </ac:spMkLst>
        </pc:spChg>
      </pc:sldChg>
      <pc:sldChg chg="modSp add del">
        <pc:chgData name="Christopher Schulz" userId="c7a37fbc-fc18-47fa-bc4e-1f96df76f530" providerId="ADAL" clId="{D3475D91-1DB2-6340-86DE-860237F9C8A3}" dt="2019-10-19T18:45:01.998" v="5670" actId="2696"/>
        <pc:sldMkLst>
          <pc:docMk/>
          <pc:sldMk cId="2726336956" sldId="435"/>
        </pc:sldMkLst>
        <pc:spChg chg="mod">
          <ac:chgData name="Christopher Schulz" userId="c7a37fbc-fc18-47fa-bc4e-1f96df76f530" providerId="ADAL" clId="{D3475D91-1DB2-6340-86DE-860237F9C8A3}" dt="2019-10-17T06:02:38.275" v="2319" actId="20577"/>
          <ac:spMkLst>
            <pc:docMk/>
            <pc:sldMk cId="2726336956" sldId="435"/>
            <ac:spMk id="2" creationId="{DDF4D348-66C2-B949-8982-4013212F48D4}"/>
          </ac:spMkLst>
        </pc:spChg>
        <pc:spChg chg="mod">
          <ac:chgData name="Christopher Schulz" userId="c7a37fbc-fc18-47fa-bc4e-1f96df76f530" providerId="ADAL" clId="{D3475D91-1DB2-6340-86DE-860237F9C8A3}" dt="2019-10-17T06:02:32.615" v="2298" actId="27636"/>
          <ac:spMkLst>
            <pc:docMk/>
            <pc:sldMk cId="2726336956" sldId="435"/>
            <ac:spMk id="3" creationId="{0A279E3D-2167-9D4D-978E-634486823993}"/>
          </ac:spMkLst>
        </pc:spChg>
        <pc:spChg chg="mod">
          <ac:chgData name="Christopher Schulz" userId="c7a37fbc-fc18-47fa-bc4e-1f96df76f530" providerId="ADAL" clId="{D3475D91-1DB2-6340-86DE-860237F9C8A3}" dt="2019-10-17T06:02:43.456" v="2347" actId="20577"/>
          <ac:spMkLst>
            <pc:docMk/>
            <pc:sldMk cId="2726336956" sldId="435"/>
            <ac:spMk id="4" creationId="{16D016F1-0A97-1740-B852-C2DAC1C628CC}"/>
          </ac:spMkLst>
        </pc:spChg>
      </pc:sldChg>
      <pc:sldChg chg="addSp delSp modSp add ord">
        <pc:chgData name="Christopher Schulz" userId="c7a37fbc-fc18-47fa-bc4e-1f96df76f530" providerId="ADAL" clId="{D3475D91-1DB2-6340-86DE-860237F9C8A3}" dt="2019-10-17T06:30:59.248" v="3842"/>
        <pc:sldMkLst>
          <pc:docMk/>
          <pc:sldMk cId="1472519979" sldId="436"/>
        </pc:sldMkLst>
        <pc:spChg chg="mod">
          <ac:chgData name="Christopher Schulz" userId="c7a37fbc-fc18-47fa-bc4e-1f96df76f530" providerId="ADAL" clId="{D3475D91-1DB2-6340-86DE-860237F9C8A3}" dt="2019-10-17T06:26:16.809" v="3596" actId="20577"/>
          <ac:spMkLst>
            <pc:docMk/>
            <pc:sldMk cId="1472519979" sldId="436"/>
            <ac:spMk id="2" creationId="{6D202977-80CB-8D49-9114-5E34A0AD02D3}"/>
          </ac:spMkLst>
        </pc:spChg>
        <pc:spChg chg="mod">
          <ac:chgData name="Christopher Schulz" userId="c7a37fbc-fc18-47fa-bc4e-1f96df76f530" providerId="ADAL" clId="{D3475D91-1DB2-6340-86DE-860237F9C8A3}" dt="2019-10-17T06:26:27.041" v="3648" actId="20577"/>
          <ac:spMkLst>
            <pc:docMk/>
            <pc:sldMk cId="1472519979" sldId="436"/>
            <ac:spMk id="3" creationId="{AA7F89C0-AD47-2F41-ADB5-148CE4D47C23}"/>
          </ac:spMkLst>
        </pc:spChg>
        <pc:spChg chg="del">
          <ac:chgData name="Christopher Schulz" userId="c7a37fbc-fc18-47fa-bc4e-1f96df76f530" providerId="ADAL" clId="{D3475D91-1DB2-6340-86DE-860237F9C8A3}" dt="2019-10-17T06:26:43.188" v="3649" actId="478"/>
          <ac:spMkLst>
            <pc:docMk/>
            <pc:sldMk cId="1472519979" sldId="436"/>
            <ac:spMk id="4" creationId="{BF2D8D54-868C-544C-8CC8-41327F85EDAC}"/>
          </ac:spMkLst>
        </pc:spChg>
        <pc:spChg chg="add del">
          <ac:chgData name="Christopher Schulz" userId="c7a37fbc-fc18-47fa-bc4e-1f96df76f530" providerId="ADAL" clId="{D3475D91-1DB2-6340-86DE-860237F9C8A3}" dt="2019-10-17T06:26:48.149" v="3651"/>
          <ac:spMkLst>
            <pc:docMk/>
            <pc:sldMk cId="1472519979" sldId="436"/>
            <ac:spMk id="6" creationId="{67660D5F-EA1F-5342-AB33-AFB24B9BBCEE}"/>
          </ac:spMkLst>
        </pc:spChg>
        <pc:spChg chg="add del">
          <ac:chgData name="Christopher Schulz" userId="c7a37fbc-fc18-47fa-bc4e-1f96df76f530" providerId="ADAL" clId="{D3475D91-1DB2-6340-86DE-860237F9C8A3}" dt="2019-10-17T06:26:48.149" v="3651"/>
          <ac:spMkLst>
            <pc:docMk/>
            <pc:sldMk cId="1472519979" sldId="436"/>
            <ac:spMk id="7" creationId="{1D5F4CEF-F2E5-A342-B210-2138015BD24F}"/>
          </ac:spMkLst>
        </pc:spChg>
        <pc:spChg chg="add mod">
          <ac:chgData name="Christopher Schulz" userId="c7a37fbc-fc18-47fa-bc4e-1f96df76f530" providerId="ADAL" clId="{D3475D91-1DB2-6340-86DE-860237F9C8A3}" dt="2019-10-17T06:30:43.641" v="3840" actId="207"/>
          <ac:spMkLst>
            <pc:docMk/>
            <pc:sldMk cId="1472519979" sldId="436"/>
            <ac:spMk id="9" creationId="{CF9ADDBA-443B-204E-B32A-778FA29DB81E}"/>
          </ac:spMkLst>
        </pc:spChg>
        <pc:spChg chg="add mod">
          <ac:chgData name="Christopher Schulz" userId="c7a37fbc-fc18-47fa-bc4e-1f96df76f530" providerId="ADAL" clId="{D3475D91-1DB2-6340-86DE-860237F9C8A3}" dt="2019-10-17T06:30:49.878" v="3841" actId="14100"/>
          <ac:spMkLst>
            <pc:docMk/>
            <pc:sldMk cId="1472519979" sldId="436"/>
            <ac:spMk id="10" creationId="{274B8FD3-DE57-F04F-8CE3-DD4FB0B74771}"/>
          </ac:spMkLst>
        </pc:spChg>
        <pc:picChg chg="add del">
          <ac:chgData name="Christopher Schulz" userId="c7a37fbc-fc18-47fa-bc4e-1f96df76f530" providerId="ADAL" clId="{D3475D91-1DB2-6340-86DE-860237F9C8A3}" dt="2019-10-17T06:26:48.149" v="3651"/>
          <ac:picMkLst>
            <pc:docMk/>
            <pc:sldMk cId="1472519979" sldId="436"/>
            <ac:picMk id="5" creationId="{664DBF75-1416-DF41-BDB4-88F55DE36E17}"/>
          </ac:picMkLst>
        </pc:picChg>
        <pc:picChg chg="add">
          <ac:chgData name="Christopher Schulz" userId="c7a37fbc-fc18-47fa-bc4e-1f96df76f530" providerId="ADAL" clId="{D3475D91-1DB2-6340-86DE-860237F9C8A3}" dt="2019-10-17T06:26:58.154" v="3654"/>
          <ac:picMkLst>
            <pc:docMk/>
            <pc:sldMk cId="1472519979" sldId="436"/>
            <ac:picMk id="8" creationId="{85906011-DFCF-6E41-8E6C-974E178A2AE4}"/>
          </ac:picMkLst>
        </pc:picChg>
      </pc:sldChg>
      <pc:sldMasterChg chg="delSldLayout">
        <pc:chgData name="Christopher Schulz" userId="c7a37fbc-fc18-47fa-bc4e-1f96df76f530" providerId="ADAL" clId="{D3475D91-1DB2-6340-86DE-860237F9C8A3}" dt="2019-10-17T05:16:54.812" v="119" actId="2696"/>
        <pc:sldMasterMkLst>
          <pc:docMk/>
          <pc:sldMasterMk cId="0" sldId="2147483648"/>
        </pc:sldMasterMkLst>
      </pc:sldMasterChg>
    </pc:docChg>
  </pc:docChgLst>
  <pc:docChgLst>
    <pc:chgData name="Tobias Smuda" userId="5e6210db-75d9-4bfc-abc0-b17d669d9543" providerId="ADAL" clId="{66A395C6-7F87-4899-BCE0-F5BFE752B9D0}"/>
    <pc:docChg chg="undo custSel addSld delSld modSld">
      <pc:chgData name="Tobias Smuda" userId="5e6210db-75d9-4bfc-abc0-b17d669d9543" providerId="ADAL" clId="{66A395C6-7F87-4899-BCE0-F5BFE752B9D0}" dt="2019-11-12T07:28:15.180" v="1604" actId="20577"/>
      <pc:docMkLst>
        <pc:docMk/>
      </pc:docMkLst>
      <pc:sldChg chg="modSp">
        <pc:chgData name="Tobias Smuda" userId="5e6210db-75d9-4bfc-abc0-b17d669d9543" providerId="ADAL" clId="{66A395C6-7F87-4899-BCE0-F5BFE752B9D0}" dt="2019-11-10T14:38:50.685" v="1585" actId="20577"/>
        <pc:sldMkLst>
          <pc:docMk/>
          <pc:sldMk cId="3168066364" sldId="256"/>
        </pc:sldMkLst>
        <pc:graphicFrameChg chg="mod modGraphic">
          <ac:chgData name="Tobias Smuda" userId="5e6210db-75d9-4bfc-abc0-b17d669d9543" providerId="ADAL" clId="{66A395C6-7F87-4899-BCE0-F5BFE752B9D0}" dt="2019-11-10T14:38:50.685" v="1585" actId="20577"/>
          <ac:graphicFrameMkLst>
            <pc:docMk/>
            <pc:sldMk cId="3168066364" sldId="256"/>
            <ac:graphicFrameMk id="6" creationId="{78112048-7899-1C44-B8EC-A001E6C13E15}"/>
          </ac:graphicFrameMkLst>
        </pc:graphicFrameChg>
      </pc:sldChg>
      <pc:sldChg chg="modSp">
        <pc:chgData name="Tobias Smuda" userId="5e6210db-75d9-4bfc-abc0-b17d669d9543" providerId="ADAL" clId="{66A395C6-7F87-4899-BCE0-F5BFE752B9D0}" dt="2019-11-10T13:52:22.078" v="968" actId="20577"/>
        <pc:sldMkLst>
          <pc:docMk/>
          <pc:sldMk cId="1432570934" sldId="428"/>
        </pc:sldMkLst>
        <pc:graphicFrameChg chg="modGraphic">
          <ac:chgData name="Tobias Smuda" userId="5e6210db-75d9-4bfc-abc0-b17d669d9543" providerId="ADAL" clId="{66A395C6-7F87-4899-BCE0-F5BFE752B9D0}" dt="2019-11-10T13:52:22.078" v="968" actId="20577"/>
          <ac:graphicFrameMkLst>
            <pc:docMk/>
            <pc:sldMk cId="1432570934" sldId="428"/>
            <ac:graphicFrameMk id="5" creationId="{53782371-3C58-B941-A0BE-E63C5F98656D}"/>
          </ac:graphicFrameMkLst>
        </pc:graphicFrameChg>
      </pc:sldChg>
      <pc:sldChg chg="modSp">
        <pc:chgData name="Tobias Smuda" userId="5e6210db-75d9-4bfc-abc0-b17d669d9543" providerId="ADAL" clId="{66A395C6-7F87-4899-BCE0-F5BFE752B9D0}" dt="2019-11-10T14:27:19.960" v="1541" actId="20577"/>
        <pc:sldMkLst>
          <pc:docMk/>
          <pc:sldMk cId="269611952" sldId="430"/>
        </pc:sldMkLst>
        <pc:graphicFrameChg chg="mod modGraphic">
          <ac:chgData name="Tobias Smuda" userId="5e6210db-75d9-4bfc-abc0-b17d669d9543" providerId="ADAL" clId="{66A395C6-7F87-4899-BCE0-F5BFE752B9D0}" dt="2019-11-10T14:27:19.960" v="1541" actId="20577"/>
          <ac:graphicFrameMkLst>
            <pc:docMk/>
            <pc:sldMk cId="269611952" sldId="430"/>
            <ac:graphicFrameMk id="5" creationId="{D4A21EAF-1079-9045-B1A4-CA2DA7847228}"/>
          </ac:graphicFrameMkLst>
        </pc:graphicFrameChg>
      </pc:sldChg>
      <pc:sldChg chg="modSp del">
        <pc:chgData name="Tobias Smuda" userId="5e6210db-75d9-4bfc-abc0-b17d669d9543" providerId="ADAL" clId="{66A395C6-7F87-4899-BCE0-F5BFE752B9D0}" dt="2019-11-10T14:25:18.944" v="1530" actId="47"/>
        <pc:sldMkLst>
          <pc:docMk/>
          <pc:sldMk cId="4149209076" sldId="431"/>
        </pc:sldMkLst>
        <pc:graphicFrameChg chg="mod modGraphic">
          <ac:chgData name="Tobias Smuda" userId="5e6210db-75d9-4bfc-abc0-b17d669d9543" providerId="ADAL" clId="{66A395C6-7F87-4899-BCE0-F5BFE752B9D0}" dt="2019-11-10T13:50:53.999" v="948"/>
          <ac:graphicFrameMkLst>
            <pc:docMk/>
            <pc:sldMk cId="4149209076" sldId="431"/>
            <ac:graphicFrameMk id="4" creationId="{9E31AC4F-82BF-F54A-ABA7-51F70B62D1E1}"/>
          </ac:graphicFrameMkLst>
        </pc:graphicFrameChg>
        <pc:graphicFrameChg chg="modGraphic">
          <ac:chgData name="Tobias Smuda" userId="5e6210db-75d9-4bfc-abc0-b17d669d9543" providerId="ADAL" clId="{66A395C6-7F87-4899-BCE0-F5BFE752B9D0}" dt="2019-11-10T13:50:56.817" v="949" actId="108"/>
          <ac:graphicFrameMkLst>
            <pc:docMk/>
            <pc:sldMk cId="4149209076" sldId="431"/>
            <ac:graphicFrameMk id="7" creationId="{C9872F59-0A6E-6449-94F7-0CF6C97B4C81}"/>
          </ac:graphicFrameMkLst>
        </pc:graphicFrameChg>
      </pc:sldChg>
      <pc:sldChg chg="addSp delSp modSp">
        <pc:chgData name="Tobias Smuda" userId="5e6210db-75d9-4bfc-abc0-b17d669d9543" providerId="ADAL" clId="{66A395C6-7F87-4899-BCE0-F5BFE752B9D0}" dt="2019-11-10T14:36:59.392" v="1574" actId="20577"/>
        <pc:sldMkLst>
          <pc:docMk/>
          <pc:sldMk cId="2682155137" sldId="433"/>
        </pc:sldMkLst>
        <pc:graphicFrameChg chg="modGraphic">
          <ac:chgData name="Tobias Smuda" userId="5e6210db-75d9-4bfc-abc0-b17d669d9543" providerId="ADAL" clId="{66A395C6-7F87-4899-BCE0-F5BFE752B9D0}" dt="2019-11-10T14:36:59.392" v="1574" actId="20577"/>
          <ac:graphicFrameMkLst>
            <pc:docMk/>
            <pc:sldMk cId="2682155137" sldId="433"/>
            <ac:graphicFrameMk id="4" creationId="{C40E432C-AA28-D749-BB85-FFA7057CDF3E}"/>
          </ac:graphicFrameMkLst>
        </pc:graphicFrameChg>
        <pc:graphicFrameChg chg="mod modGraphic">
          <ac:chgData name="Tobias Smuda" userId="5e6210db-75d9-4bfc-abc0-b17d669d9543" providerId="ADAL" clId="{66A395C6-7F87-4899-BCE0-F5BFE752B9D0}" dt="2019-11-10T13:49:57.178" v="936"/>
          <ac:graphicFrameMkLst>
            <pc:docMk/>
            <pc:sldMk cId="2682155137" sldId="433"/>
            <ac:graphicFrameMk id="5" creationId="{10E0FAC1-310C-0143-AD00-556F6A0E79CB}"/>
          </ac:graphicFrameMkLst>
        </pc:graphicFrameChg>
        <pc:graphicFrameChg chg="add del mod modGraphic">
          <ac:chgData name="Tobias Smuda" userId="5e6210db-75d9-4bfc-abc0-b17d669d9543" providerId="ADAL" clId="{66A395C6-7F87-4899-BCE0-F5BFE752B9D0}" dt="2019-11-10T13:45:30.586" v="766" actId="478"/>
          <ac:graphicFrameMkLst>
            <pc:docMk/>
            <pc:sldMk cId="2682155137" sldId="433"/>
            <ac:graphicFrameMk id="6" creationId="{5A38AA5F-9CBC-47CF-B6DD-5F0CF0D21B38}"/>
          </ac:graphicFrameMkLst>
        </pc:graphicFrameChg>
      </pc:sldChg>
      <pc:sldChg chg="del">
        <pc:chgData name="Tobias Smuda" userId="5e6210db-75d9-4bfc-abc0-b17d669d9543" providerId="ADAL" clId="{66A395C6-7F87-4899-BCE0-F5BFE752B9D0}" dt="2019-11-09T11:47:11.696" v="284" actId="47"/>
        <pc:sldMkLst>
          <pc:docMk/>
          <pc:sldMk cId="3859421926" sldId="434"/>
        </pc:sldMkLst>
      </pc:sldChg>
      <pc:sldChg chg="addSp delSp modSp add">
        <pc:chgData name="Tobias Smuda" userId="5e6210db-75d9-4bfc-abc0-b17d669d9543" providerId="ADAL" clId="{66A395C6-7F87-4899-BCE0-F5BFE752B9D0}" dt="2019-11-10T13:51:55.302" v="958" actId="20577"/>
        <pc:sldMkLst>
          <pc:docMk/>
          <pc:sldMk cId="1131587553" sldId="437"/>
        </pc:sldMkLst>
        <pc:spChg chg="add del mod">
          <ac:chgData name="Tobias Smuda" userId="5e6210db-75d9-4bfc-abc0-b17d669d9543" providerId="ADAL" clId="{66A395C6-7F87-4899-BCE0-F5BFE752B9D0}" dt="2019-11-09T11:53:51.840" v="521" actId="207"/>
          <ac:spMkLst>
            <pc:docMk/>
            <pc:sldMk cId="1131587553" sldId="437"/>
            <ac:spMk id="2" creationId="{EB45F231-E487-4271-9057-B362EF649847}"/>
          </ac:spMkLst>
        </pc:spChg>
        <pc:spChg chg="add mod">
          <ac:chgData name="Tobias Smuda" userId="5e6210db-75d9-4bfc-abc0-b17d669d9543" providerId="ADAL" clId="{66A395C6-7F87-4899-BCE0-F5BFE752B9D0}" dt="2019-11-09T11:52:31.806" v="481" actId="1036"/>
          <ac:spMkLst>
            <pc:docMk/>
            <pc:sldMk cId="1131587553" sldId="437"/>
            <ac:spMk id="5" creationId="{ADE22E13-F18C-46B2-969E-3B013F351CED}"/>
          </ac:spMkLst>
        </pc:spChg>
        <pc:spChg chg="add mod">
          <ac:chgData name="Tobias Smuda" userId="5e6210db-75d9-4bfc-abc0-b17d669d9543" providerId="ADAL" clId="{66A395C6-7F87-4899-BCE0-F5BFE752B9D0}" dt="2019-11-09T11:42:51.240" v="124" actId="14100"/>
          <ac:spMkLst>
            <pc:docMk/>
            <pc:sldMk cId="1131587553" sldId="437"/>
            <ac:spMk id="6" creationId="{E6BCA6DC-87A3-45A3-8418-850F5E83F93D}"/>
          </ac:spMkLst>
        </pc:spChg>
        <pc:spChg chg="add mod">
          <ac:chgData name="Tobias Smuda" userId="5e6210db-75d9-4bfc-abc0-b17d669d9543" providerId="ADAL" clId="{66A395C6-7F87-4899-BCE0-F5BFE752B9D0}" dt="2019-11-10T13:51:55.302" v="958" actId="20577"/>
          <ac:spMkLst>
            <pc:docMk/>
            <pc:sldMk cId="1131587553" sldId="437"/>
            <ac:spMk id="8" creationId="{D596532F-93B4-474D-9305-298699D9090B}"/>
          </ac:spMkLst>
        </pc:spChg>
        <pc:picChg chg="add mod modCrop">
          <ac:chgData name="Tobias Smuda" userId="5e6210db-75d9-4bfc-abc0-b17d669d9543" providerId="ADAL" clId="{66A395C6-7F87-4899-BCE0-F5BFE752B9D0}" dt="2019-11-09T11:40:50.591" v="37" actId="29295"/>
          <ac:picMkLst>
            <pc:docMk/>
            <pc:sldMk cId="1131587553" sldId="437"/>
            <ac:picMk id="3" creationId="{C1084879-260D-453B-8097-6930EC92BC9B}"/>
          </ac:picMkLst>
        </pc:picChg>
        <pc:picChg chg="del">
          <ac:chgData name="Tobias Smuda" userId="5e6210db-75d9-4bfc-abc0-b17d669d9543" providerId="ADAL" clId="{66A395C6-7F87-4899-BCE0-F5BFE752B9D0}" dt="2019-11-09T11:36:50.749" v="3" actId="478"/>
          <ac:picMkLst>
            <pc:docMk/>
            <pc:sldMk cId="1131587553" sldId="437"/>
            <ac:picMk id="4" creationId="{CD77BADB-F66D-494E-9B1D-65033494C491}"/>
          </ac:picMkLst>
        </pc:picChg>
        <pc:picChg chg="add mod">
          <ac:chgData name="Tobias Smuda" userId="5e6210db-75d9-4bfc-abc0-b17d669d9543" providerId="ADAL" clId="{66A395C6-7F87-4899-BCE0-F5BFE752B9D0}" dt="2019-11-09T11:53:32.042" v="484" actId="1076"/>
          <ac:picMkLst>
            <pc:docMk/>
            <pc:sldMk cId="1131587553" sldId="437"/>
            <ac:picMk id="7" creationId="{3CAB693A-9ABC-4703-B015-2ECBC6CC2C87}"/>
          </ac:picMkLst>
        </pc:picChg>
      </pc:sldChg>
      <pc:sldChg chg="add del">
        <pc:chgData name="Tobias Smuda" userId="5e6210db-75d9-4bfc-abc0-b17d669d9543" providerId="ADAL" clId="{66A395C6-7F87-4899-BCE0-F5BFE752B9D0}" dt="2019-11-09T11:34:48.719" v="1" actId="47"/>
        <pc:sldMkLst>
          <pc:docMk/>
          <pc:sldMk cId="3118605669" sldId="437"/>
        </pc:sldMkLst>
      </pc:sldChg>
      <pc:sldChg chg="modSp add">
        <pc:chgData name="Tobias Smuda" userId="5e6210db-75d9-4bfc-abc0-b17d669d9543" providerId="ADAL" clId="{66A395C6-7F87-4899-BCE0-F5BFE752B9D0}" dt="2019-11-12T07:28:15.180" v="1604" actId="20577"/>
        <pc:sldMkLst>
          <pc:docMk/>
          <pc:sldMk cId="2361912370" sldId="438"/>
        </pc:sldMkLst>
        <pc:graphicFrameChg chg="mod modGraphic">
          <ac:chgData name="Tobias Smuda" userId="5e6210db-75d9-4bfc-abc0-b17d669d9543" providerId="ADAL" clId="{66A395C6-7F87-4899-BCE0-F5BFE752B9D0}" dt="2019-11-12T07:28:15.180" v="1604" actId="20577"/>
          <ac:graphicFrameMkLst>
            <pc:docMk/>
            <pc:sldMk cId="2361912370" sldId="438"/>
            <ac:graphicFrameMk id="4" creationId="{9E31AC4F-82BF-F54A-ABA7-51F70B62D1E1}"/>
          </ac:graphicFrameMkLst>
        </pc:graphicFrameChg>
        <pc:graphicFrameChg chg="mod modGraphic">
          <ac:chgData name="Tobias Smuda" userId="5e6210db-75d9-4bfc-abc0-b17d669d9543" providerId="ADAL" clId="{66A395C6-7F87-4899-BCE0-F5BFE752B9D0}" dt="2019-11-10T14:25:08.890" v="1529" actId="20577"/>
          <ac:graphicFrameMkLst>
            <pc:docMk/>
            <pc:sldMk cId="2361912370" sldId="438"/>
            <ac:graphicFrameMk id="7" creationId="{C9872F59-0A6E-6449-94F7-0CF6C97B4C81}"/>
          </ac:graphicFrameMkLst>
        </pc:graphicFrameChg>
      </pc:sldChg>
    </pc:docChg>
  </pc:docChgLst>
  <pc:docChgLst>
    <pc:chgData name="Schulz, Christopher" userId="cad6b6ae-751c-46c4-aef3-338098c68775" providerId="ADAL" clId="{591137B4-F358-4061-8954-2AA74B24642F}"/>
  </pc:docChgLst>
  <pc:docChgLst>
    <pc:chgData name="Christopher Schulz" userId="c7a37fbc-fc18-47fa-bc4e-1f96df76f530" providerId="ADAL" clId="{1344DBB7-B0EC-6C43-BEBE-A6000874D078}"/>
    <pc:docChg chg="undo redo custSel addSld delSld modSld modMainMaster">
      <pc:chgData name="Christopher Schulz" userId="c7a37fbc-fc18-47fa-bc4e-1f96df76f530" providerId="ADAL" clId="{1344DBB7-B0EC-6C43-BEBE-A6000874D078}" dt="2020-04-19T11:48:18.052" v="2437" actId="1076"/>
      <pc:docMkLst>
        <pc:docMk/>
      </pc:docMkLst>
      <pc:sldChg chg="addSp delSp modSp">
        <pc:chgData name="Christopher Schulz" userId="c7a37fbc-fc18-47fa-bc4e-1f96df76f530" providerId="ADAL" clId="{1344DBB7-B0EC-6C43-BEBE-A6000874D078}" dt="2020-04-19T11:45:28.695" v="2400" actId="20577"/>
        <pc:sldMkLst>
          <pc:docMk/>
          <pc:sldMk cId="3168066364" sldId="256"/>
        </pc:sldMkLst>
        <pc:spChg chg="mod">
          <ac:chgData name="Christopher Schulz" userId="c7a37fbc-fc18-47fa-bc4e-1f96df76f530" providerId="ADAL" clId="{1344DBB7-B0EC-6C43-BEBE-A6000874D078}" dt="2020-04-19T11:31:20.240" v="1844" actId="20577"/>
          <ac:spMkLst>
            <pc:docMk/>
            <pc:sldMk cId="3168066364" sldId="256"/>
            <ac:spMk id="2" creationId="{D68C5A50-1913-4507-988E-B3319E45906C}"/>
          </ac:spMkLst>
        </pc:spChg>
        <pc:spChg chg="mod">
          <ac:chgData name="Christopher Schulz" userId="c7a37fbc-fc18-47fa-bc4e-1f96df76f530" providerId="ADAL" clId="{1344DBB7-B0EC-6C43-BEBE-A6000874D078}" dt="2020-04-19T11:34:37.026" v="1955" actId="20577"/>
          <ac:spMkLst>
            <pc:docMk/>
            <pc:sldMk cId="3168066364" sldId="256"/>
            <ac:spMk id="3" creationId="{5F0B0340-28DE-4C04-BA5A-1EB9C2F0782D}"/>
          </ac:spMkLst>
        </pc:spChg>
        <pc:spChg chg="add del mod">
          <ac:chgData name="Christopher Schulz" userId="c7a37fbc-fc18-47fa-bc4e-1f96df76f530" providerId="ADAL" clId="{1344DBB7-B0EC-6C43-BEBE-A6000874D078}" dt="2020-04-19T10:54:07.857" v="187"/>
          <ac:spMkLst>
            <pc:docMk/>
            <pc:sldMk cId="3168066364" sldId="256"/>
            <ac:spMk id="29" creationId="{90F4EC67-8597-8146-AD8B-30B060F3037F}"/>
          </ac:spMkLst>
        </pc:spChg>
        <pc:spChg chg="add del mod">
          <ac:chgData name="Christopher Schulz" userId="c7a37fbc-fc18-47fa-bc4e-1f96df76f530" providerId="ADAL" clId="{1344DBB7-B0EC-6C43-BEBE-A6000874D078}" dt="2020-04-19T10:55:33.261" v="208" actId="478"/>
          <ac:spMkLst>
            <pc:docMk/>
            <pc:sldMk cId="3168066364" sldId="256"/>
            <ac:spMk id="31" creationId="{9F94E024-4D9E-3241-907F-341735012F77}"/>
          </ac:spMkLst>
        </pc:spChg>
        <pc:spChg chg="del">
          <ac:chgData name="Christopher Schulz" userId="c7a37fbc-fc18-47fa-bc4e-1f96df76f530" providerId="ADAL" clId="{1344DBB7-B0EC-6C43-BEBE-A6000874D078}" dt="2020-04-19T10:52:20.151" v="144" actId="478"/>
          <ac:spMkLst>
            <pc:docMk/>
            <pc:sldMk cId="3168066364" sldId="256"/>
            <ac:spMk id="53" creationId="{0D333FBC-7AA1-A448-A521-AD576F96D878}"/>
          </ac:spMkLst>
        </pc:spChg>
        <pc:spChg chg="del">
          <ac:chgData name="Christopher Schulz" userId="c7a37fbc-fc18-47fa-bc4e-1f96df76f530" providerId="ADAL" clId="{1344DBB7-B0EC-6C43-BEBE-A6000874D078}" dt="2020-04-19T10:52:20.151" v="144" actId="478"/>
          <ac:spMkLst>
            <pc:docMk/>
            <pc:sldMk cId="3168066364" sldId="256"/>
            <ac:spMk id="54" creationId="{E53354FD-A7ED-F741-90BC-3497A87A2154}"/>
          </ac:spMkLst>
        </pc:spChg>
        <pc:spChg chg="del">
          <ac:chgData name="Christopher Schulz" userId="c7a37fbc-fc18-47fa-bc4e-1f96df76f530" providerId="ADAL" clId="{1344DBB7-B0EC-6C43-BEBE-A6000874D078}" dt="2020-04-19T10:52:20.151" v="144" actId="478"/>
          <ac:spMkLst>
            <pc:docMk/>
            <pc:sldMk cId="3168066364" sldId="256"/>
            <ac:spMk id="59" creationId="{5F08C03D-6BF7-124E-BC37-F5B4330636A9}"/>
          </ac:spMkLst>
        </pc:spChg>
        <pc:spChg chg="del">
          <ac:chgData name="Christopher Schulz" userId="c7a37fbc-fc18-47fa-bc4e-1f96df76f530" providerId="ADAL" clId="{1344DBB7-B0EC-6C43-BEBE-A6000874D078}" dt="2020-04-19T10:52:20.151" v="144" actId="478"/>
          <ac:spMkLst>
            <pc:docMk/>
            <pc:sldMk cId="3168066364" sldId="256"/>
            <ac:spMk id="60" creationId="{FBEF7467-2272-8C42-A10A-0A45907C2AF1}"/>
          </ac:spMkLst>
        </pc:spChg>
        <pc:spChg chg="del">
          <ac:chgData name="Christopher Schulz" userId="c7a37fbc-fc18-47fa-bc4e-1f96df76f530" providerId="ADAL" clId="{1344DBB7-B0EC-6C43-BEBE-A6000874D078}" dt="2020-04-19T10:52:20.151" v="144" actId="478"/>
          <ac:spMkLst>
            <pc:docMk/>
            <pc:sldMk cId="3168066364" sldId="256"/>
            <ac:spMk id="61" creationId="{71C73527-1EEC-9C4B-9089-00F8C16AD414}"/>
          </ac:spMkLst>
        </pc:spChg>
        <pc:spChg chg="del">
          <ac:chgData name="Christopher Schulz" userId="c7a37fbc-fc18-47fa-bc4e-1f96df76f530" providerId="ADAL" clId="{1344DBB7-B0EC-6C43-BEBE-A6000874D078}" dt="2020-04-19T10:52:20.151" v="144" actId="478"/>
          <ac:spMkLst>
            <pc:docMk/>
            <pc:sldMk cId="3168066364" sldId="256"/>
            <ac:spMk id="62" creationId="{957A65AE-4A05-7945-BE35-6ACB3C3617CB}"/>
          </ac:spMkLst>
        </pc:spChg>
        <pc:spChg chg="del">
          <ac:chgData name="Christopher Schulz" userId="c7a37fbc-fc18-47fa-bc4e-1f96df76f530" providerId="ADAL" clId="{1344DBB7-B0EC-6C43-BEBE-A6000874D078}" dt="2020-04-19T10:52:20.151" v="144" actId="478"/>
          <ac:spMkLst>
            <pc:docMk/>
            <pc:sldMk cId="3168066364" sldId="256"/>
            <ac:spMk id="64" creationId="{81A20781-8663-2F41-A497-C4D57F4DE5E5}"/>
          </ac:spMkLst>
        </pc:spChg>
        <pc:spChg chg="del">
          <ac:chgData name="Christopher Schulz" userId="c7a37fbc-fc18-47fa-bc4e-1f96df76f530" providerId="ADAL" clId="{1344DBB7-B0EC-6C43-BEBE-A6000874D078}" dt="2020-04-19T10:52:20.151" v="144" actId="478"/>
          <ac:spMkLst>
            <pc:docMk/>
            <pc:sldMk cId="3168066364" sldId="256"/>
            <ac:spMk id="65" creationId="{BFC1D988-8A91-DE49-B58D-593EE053184F}"/>
          </ac:spMkLst>
        </pc:spChg>
        <pc:spChg chg="del">
          <ac:chgData name="Christopher Schulz" userId="c7a37fbc-fc18-47fa-bc4e-1f96df76f530" providerId="ADAL" clId="{1344DBB7-B0EC-6C43-BEBE-A6000874D078}" dt="2020-04-19T10:52:20.151" v="144" actId="478"/>
          <ac:spMkLst>
            <pc:docMk/>
            <pc:sldMk cId="3168066364" sldId="256"/>
            <ac:spMk id="66" creationId="{C9F832F3-19D4-E046-9A4C-00866193A3E1}"/>
          </ac:spMkLst>
        </pc:spChg>
        <pc:spChg chg="del">
          <ac:chgData name="Christopher Schulz" userId="c7a37fbc-fc18-47fa-bc4e-1f96df76f530" providerId="ADAL" clId="{1344DBB7-B0EC-6C43-BEBE-A6000874D078}" dt="2020-04-19T10:52:20.151" v="144" actId="478"/>
          <ac:spMkLst>
            <pc:docMk/>
            <pc:sldMk cId="3168066364" sldId="256"/>
            <ac:spMk id="68" creationId="{B4587D13-8F0D-2640-A4F5-B5F2BB27D966}"/>
          </ac:spMkLst>
        </pc:spChg>
        <pc:spChg chg="del">
          <ac:chgData name="Christopher Schulz" userId="c7a37fbc-fc18-47fa-bc4e-1f96df76f530" providerId="ADAL" clId="{1344DBB7-B0EC-6C43-BEBE-A6000874D078}" dt="2020-04-19T10:52:20.151" v="144" actId="478"/>
          <ac:spMkLst>
            <pc:docMk/>
            <pc:sldMk cId="3168066364" sldId="256"/>
            <ac:spMk id="77" creationId="{689346B4-56EE-484D-98C1-4C85C5FB7AC9}"/>
          </ac:spMkLst>
        </pc:spChg>
        <pc:spChg chg="del">
          <ac:chgData name="Christopher Schulz" userId="c7a37fbc-fc18-47fa-bc4e-1f96df76f530" providerId="ADAL" clId="{1344DBB7-B0EC-6C43-BEBE-A6000874D078}" dt="2020-04-19T10:52:20.151" v="144" actId="478"/>
          <ac:spMkLst>
            <pc:docMk/>
            <pc:sldMk cId="3168066364" sldId="256"/>
            <ac:spMk id="78" creationId="{E1A175B2-75F9-7741-9683-4400A733C301}"/>
          </ac:spMkLst>
        </pc:spChg>
        <pc:graphicFrameChg chg="add del mod">
          <ac:chgData name="Christopher Schulz" userId="c7a37fbc-fc18-47fa-bc4e-1f96df76f530" providerId="ADAL" clId="{1344DBB7-B0EC-6C43-BEBE-A6000874D078}" dt="2020-04-19T10:54:07.857" v="187"/>
          <ac:graphicFrameMkLst>
            <pc:docMk/>
            <pc:sldMk cId="3168066364" sldId="256"/>
            <ac:graphicFrameMk id="28" creationId="{37217360-C22B-A54C-9753-4146CF87BC00}"/>
          </ac:graphicFrameMkLst>
        </pc:graphicFrameChg>
        <pc:graphicFrameChg chg="add mod modGraphic">
          <ac:chgData name="Christopher Schulz" userId="c7a37fbc-fc18-47fa-bc4e-1f96df76f530" providerId="ADAL" clId="{1344DBB7-B0EC-6C43-BEBE-A6000874D078}" dt="2020-04-19T11:45:28.695" v="2400" actId="20577"/>
          <ac:graphicFrameMkLst>
            <pc:docMk/>
            <pc:sldMk cId="3168066364" sldId="256"/>
            <ac:graphicFrameMk id="30" creationId="{41E15E19-3AB0-5146-BF5E-3FB3187E47EF}"/>
          </ac:graphicFrameMkLst>
        </pc:graphicFrameChg>
        <pc:picChg chg="add mod">
          <ac:chgData name="Christopher Schulz" userId="c7a37fbc-fc18-47fa-bc4e-1f96df76f530" providerId="ADAL" clId="{1344DBB7-B0EC-6C43-BEBE-A6000874D078}" dt="2020-04-19T11:45:16.756" v="2385" actId="1037"/>
          <ac:picMkLst>
            <pc:docMk/>
            <pc:sldMk cId="3168066364" sldId="256"/>
            <ac:picMk id="5" creationId="{04087436-D6FB-4D4E-917D-DC76371DBB34}"/>
          </ac:picMkLst>
        </pc:picChg>
        <pc:picChg chg="del">
          <ac:chgData name="Christopher Schulz" userId="c7a37fbc-fc18-47fa-bc4e-1f96df76f530" providerId="ADAL" clId="{1344DBB7-B0EC-6C43-BEBE-A6000874D078}" dt="2020-04-19T10:52:20.151" v="144" actId="478"/>
          <ac:picMkLst>
            <pc:docMk/>
            <pc:sldMk cId="3168066364" sldId="256"/>
            <ac:picMk id="6" creationId="{DB42ED7E-A908-CB41-B41D-BE1B48EB1B39}"/>
          </ac:picMkLst>
        </pc:picChg>
        <pc:picChg chg="del">
          <ac:chgData name="Christopher Schulz" userId="c7a37fbc-fc18-47fa-bc4e-1f96df76f530" providerId="ADAL" clId="{1344DBB7-B0EC-6C43-BEBE-A6000874D078}" dt="2020-04-19T10:52:20.151" v="144" actId="478"/>
          <ac:picMkLst>
            <pc:docMk/>
            <pc:sldMk cId="3168066364" sldId="256"/>
            <ac:picMk id="8" creationId="{62B796B7-1932-9D4A-BA6B-823B6ED2E551}"/>
          </ac:picMkLst>
        </pc:picChg>
        <pc:picChg chg="add mod">
          <ac:chgData name="Christopher Schulz" userId="c7a37fbc-fc18-47fa-bc4e-1f96df76f530" providerId="ADAL" clId="{1344DBB7-B0EC-6C43-BEBE-A6000874D078}" dt="2020-04-19T11:45:23.452" v="2387" actId="1037"/>
          <ac:picMkLst>
            <pc:docMk/>
            <pc:sldMk cId="3168066364" sldId="256"/>
            <ac:picMk id="9" creationId="{D6D9F1E1-704E-4A41-8C17-9A850A67415A}"/>
          </ac:picMkLst>
        </pc:picChg>
        <pc:picChg chg="add mod">
          <ac:chgData name="Christopher Schulz" userId="c7a37fbc-fc18-47fa-bc4e-1f96df76f530" providerId="ADAL" clId="{1344DBB7-B0EC-6C43-BEBE-A6000874D078}" dt="2020-04-19T11:45:16.756" v="2385" actId="1037"/>
          <ac:picMkLst>
            <pc:docMk/>
            <pc:sldMk cId="3168066364" sldId="256"/>
            <ac:picMk id="11" creationId="{398B46FA-EB38-DE45-A02F-7C7E926BC706}"/>
          </ac:picMkLst>
        </pc:picChg>
        <pc:picChg chg="add mod">
          <ac:chgData name="Christopher Schulz" userId="c7a37fbc-fc18-47fa-bc4e-1f96df76f530" providerId="ADAL" clId="{1344DBB7-B0EC-6C43-BEBE-A6000874D078}" dt="2020-04-19T11:45:23.452" v="2387" actId="1037"/>
          <ac:picMkLst>
            <pc:docMk/>
            <pc:sldMk cId="3168066364" sldId="256"/>
            <ac:picMk id="13" creationId="{A9C3DF1D-6436-604A-BCAD-1FE7A53A6CE4}"/>
          </ac:picMkLst>
        </pc:picChg>
        <pc:picChg chg="add mod">
          <ac:chgData name="Christopher Schulz" userId="c7a37fbc-fc18-47fa-bc4e-1f96df76f530" providerId="ADAL" clId="{1344DBB7-B0EC-6C43-BEBE-A6000874D078}" dt="2020-04-19T11:45:16.756" v="2385" actId="1037"/>
          <ac:picMkLst>
            <pc:docMk/>
            <pc:sldMk cId="3168066364" sldId="256"/>
            <ac:picMk id="15" creationId="{C4265CA0-67A4-004F-AB18-7CB91A016208}"/>
          </ac:picMkLst>
        </pc:picChg>
        <pc:picChg chg="del">
          <ac:chgData name="Christopher Schulz" userId="c7a37fbc-fc18-47fa-bc4e-1f96df76f530" providerId="ADAL" clId="{1344DBB7-B0EC-6C43-BEBE-A6000874D078}" dt="2020-04-19T10:52:20.151" v="144" actId="478"/>
          <ac:picMkLst>
            <pc:docMk/>
            <pc:sldMk cId="3168066364" sldId="256"/>
            <ac:picMk id="17" creationId="{AD2E7C2A-19EB-0344-8D3D-365177FAFA98}"/>
          </ac:picMkLst>
        </pc:picChg>
        <pc:picChg chg="del">
          <ac:chgData name="Christopher Schulz" userId="c7a37fbc-fc18-47fa-bc4e-1f96df76f530" providerId="ADAL" clId="{1344DBB7-B0EC-6C43-BEBE-A6000874D078}" dt="2020-04-19T10:52:20.151" v="144" actId="478"/>
          <ac:picMkLst>
            <pc:docMk/>
            <pc:sldMk cId="3168066364" sldId="256"/>
            <ac:picMk id="21" creationId="{81672601-4504-D344-A431-DFCF7E932F30}"/>
          </ac:picMkLst>
        </pc:picChg>
        <pc:picChg chg="del">
          <ac:chgData name="Christopher Schulz" userId="c7a37fbc-fc18-47fa-bc4e-1f96df76f530" providerId="ADAL" clId="{1344DBB7-B0EC-6C43-BEBE-A6000874D078}" dt="2020-04-19T10:52:20.151" v="144" actId="478"/>
          <ac:picMkLst>
            <pc:docMk/>
            <pc:sldMk cId="3168066364" sldId="256"/>
            <ac:picMk id="23" creationId="{263C916C-4583-FC41-BB14-3AAC0056EC22}"/>
          </ac:picMkLst>
        </pc:picChg>
        <pc:picChg chg="del">
          <ac:chgData name="Christopher Schulz" userId="c7a37fbc-fc18-47fa-bc4e-1f96df76f530" providerId="ADAL" clId="{1344DBB7-B0EC-6C43-BEBE-A6000874D078}" dt="2020-04-19T10:52:20.151" v="144" actId="478"/>
          <ac:picMkLst>
            <pc:docMk/>
            <pc:sldMk cId="3168066364" sldId="256"/>
            <ac:picMk id="70" creationId="{1A05F362-4D05-8F4E-992C-75B98B6A5DA5}"/>
          </ac:picMkLst>
        </pc:picChg>
        <pc:picChg chg="del">
          <ac:chgData name="Christopher Schulz" userId="c7a37fbc-fc18-47fa-bc4e-1f96df76f530" providerId="ADAL" clId="{1344DBB7-B0EC-6C43-BEBE-A6000874D078}" dt="2020-04-19T10:52:20.151" v="144" actId="478"/>
          <ac:picMkLst>
            <pc:docMk/>
            <pc:sldMk cId="3168066364" sldId="256"/>
            <ac:picMk id="71" creationId="{983402E8-A46E-8B47-A133-C823413EC54F}"/>
          </ac:picMkLst>
        </pc:picChg>
        <pc:picChg chg="del">
          <ac:chgData name="Christopher Schulz" userId="c7a37fbc-fc18-47fa-bc4e-1f96df76f530" providerId="ADAL" clId="{1344DBB7-B0EC-6C43-BEBE-A6000874D078}" dt="2020-04-19T10:52:20.151" v="144" actId="478"/>
          <ac:picMkLst>
            <pc:docMk/>
            <pc:sldMk cId="3168066364" sldId="256"/>
            <ac:picMk id="72" creationId="{02C0DB24-6FD0-B746-8A62-E01986EADAB6}"/>
          </ac:picMkLst>
        </pc:picChg>
        <pc:picChg chg="del">
          <ac:chgData name="Christopher Schulz" userId="c7a37fbc-fc18-47fa-bc4e-1f96df76f530" providerId="ADAL" clId="{1344DBB7-B0EC-6C43-BEBE-A6000874D078}" dt="2020-04-19T10:52:20.151" v="144" actId="478"/>
          <ac:picMkLst>
            <pc:docMk/>
            <pc:sldMk cId="3168066364" sldId="256"/>
            <ac:picMk id="74" creationId="{3121D770-0C42-1544-8A1F-A6227274C75B}"/>
          </ac:picMkLst>
        </pc:picChg>
        <pc:picChg chg="del">
          <ac:chgData name="Christopher Schulz" userId="c7a37fbc-fc18-47fa-bc4e-1f96df76f530" providerId="ADAL" clId="{1344DBB7-B0EC-6C43-BEBE-A6000874D078}" dt="2020-04-19T10:52:20.151" v="144" actId="478"/>
          <ac:picMkLst>
            <pc:docMk/>
            <pc:sldMk cId="3168066364" sldId="256"/>
            <ac:picMk id="76" creationId="{15E66E4D-FAB3-5742-8D12-8CEB6CD159F8}"/>
          </ac:picMkLst>
        </pc:picChg>
        <pc:picChg chg="del">
          <ac:chgData name="Christopher Schulz" userId="c7a37fbc-fc18-47fa-bc4e-1f96df76f530" providerId="ADAL" clId="{1344DBB7-B0EC-6C43-BEBE-A6000874D078}" dt="2020-04-19T10:52:20.151" v="144" actId="478"/>
          <ac:picMkLst>
            <pc:docMk/>
            <pc:sldMk cId="3168066364" sldId="256"/>
            <ac:picMk id="79" creationId="{C5E1EDAC-30BB-1243-A314-4B48F0A3E523}"/>
          </ac:picMkLst>
        </pc:picChg>
        <pc:picChg chg="del">
          <ac:chgData name="Christopher Schulz" userId="c7a37fbc-fc18-47fa-bc4e-1f96df76f530" providerId="ADAL" clId="{1344DBB7-B0EC-6C43-BEBE-A6000874D078}" dt="2020-04-19T10:52:20.151" v="144" actId="478"/>
          <ac:picMkLst>
            <pc:docMk/>
            <pc:sldMk cId="3168066364" sldId="256"/>
            <ac:picMk id="80" creationId="{B9C0E521-060B-7147-ACA8-A5C61AC1DF06}"/>
          </ac:picMkLst>
        </pc:picChg>
      </pc:sldChg>
      <pc:sldChg chg="delSp add del">
        <pc:chgData name="Christopher Schulz" userId="c7a37fbc-fc18-47fa-bc4e-1f96df76f530" providerId="ADAL" clId="{1344DBB7-B0EC-6C43-BEBE-A6000874D078}" dt="2020-04-19T10:58:24.398" v="240" actId="2696"/>
        <pc:sldMkLst>
          <pc:docMk/>
          <pc:sldMk cId="361496103" sldId="258"/>
        </pc:sldMkLst>
        <pc:spChg chg="del">
          <ac:chgData name="Christopher Schulz" userId="c7a37fbc-fc18-47fa-bc4e-1f96df76f530" providerId="ADAL" clId="{1344DBB7-B0EC-6C43-BEBE-A6000874D078}" dt="2020-04-19T10:54:17.735" v="189"/>
          <ac:spMkLst>
            <pc:docMk/>
            <pc:sldMk cId="361496103" sldId="258"/>
            <ac:spMk id="6" creationId="{11A7AA89-D1A8-1641-89D5-6A93663E5BD1}"/>
          </ac:spMkLst>
        </pc:spChg>
        <pc:graphicFrameChg chg="del">
          <ac:chgData name="Christopher Schulz" userId="c7a37fbc-fc18-47fa-bc4e-1f96df76f530" providerId="ADAL" clId="{1344DBB7-B0EC-6C43-BEBE-A6000874D078}" dt="2020-04-19T10:54:17.735" v="189"/>
          <ac:graphicFrameMkLst>
            <pc:docMk/>
            <pc:sldMk cId="361496103" sldId="258"/>
            <ac:graphicFrameMk id="5" creationId="{8709AB72-1E00-014F-8451-3A9CEC5D3012}"/>
          </ac:graphicFrameMkLst>
        </pc:graphicFrameChg>
      </pc:sldChg>
      <pc:sldChg chg="modSp">
        <pc:chgData name="Christopher Schulz" userId="c7a37fbc-fc18-47fa-bc4e-1f96df76f530" providerId="ADAL" clId="{1344DBB7-B0EC-6C43-BEBE-A6000874D078}" dt="2020-04-19T11:43:17.840" v="2363" actId="2"/>
        <pc:sldMkLst>
          <pc:docMk/>
          <pc:sldMk cId="1472519979" sldId="436"/>
        </pc:sldMkLst>
        <pc:spChg chg="mod">
          <ac:chgData name="Christopher Schulz" userId="c7a37fbc-fc18-47fa-bc4e-1f96df76f530" providerId="ADAL" clId="{1344DBB7-B0EC-6C43-BEBE-A6000874D078}" dt="2020-04-19T11:43:17.840" v="2363" actId="2"/>
          <ac:spMkLst>
            <pc:docMk/>
            <pc:sldMk cId="1472519979" sldId="436"/>
            <ac:spMk id="9" creationId="{CF9ADDBA-443B-204E-B32A-778FA29DB81E}"/>
          </ac:spMkLst>
        </pc:spChg>
        <pc:spChg chg="mod">
          <ac:chgData name="Christopher Schulz" userId="c7a37fbc-fc18-47fa-bc4e-1f96df76f530" providerId="ADAL" clId="{1344DBB7-B0EC-6C43-BEBE-A6000874D078}" dt="2020-04-19T10:51:47.844" v="117" actId="20577"/>
          <ac:spMkLst>
            <pc:docMk/>
            <pc:sldMk cId="1472519979" sldId="436"/>
            <ac:spMk id="10" creationId="{274B8FD3-DE57-F04F-8CE3-DD4FB0B74771}"/>
          </ac:spMkLst>
        </pc:spChg>
      </pc:sldChg>
      <pc:sldChg chg="addSp delSp modSp">
        <pc:chgData name="Christopher Schulz" userId="c7a37fbc-fc18-47fa-bc4e-1f96df76f530" providerId="ADAL" clId="{1344DBB7-B0EC-6C43-BEBE-A6000874D078}" dt="2020-04-19T11:33:01.947" v="1935" actId="20577"/>
        <pc:sldMkLst>
          <pc:docMk/>
          <pc:sldMk cId="3209056058" sldId="440"/>
        </pc:sldMkLst>
        <pc:spChg chg="mod">
          <ac:chgData name="Christopher Schulz" userId="c7a37fbc-fc18-47fa-bc4e-1f96df76f530" providerId="ADAL" clId="{1344DBB7-B0EC-6C43-BEBE-A6000874D078}" dt="2020-04-19T10:50:59.680" v="61" actId="1076"/>
          <ac:spMkLst>
            <pc:docMk/>
            <pc:sldMk cId="3209056058" sldId="440"/>
            <ac:spMk id="12" creationId="{32EF9AB9-F3CC-6340-AFA5-FD80FF545825}"/>
          </ac:spMkLst>
        </pc:spChg>
        <pc:spChg chg="mod">
          <ac:chgData name="Christopher Schulz" userId="c7a37fbc-fc18-47fa-bc4e-1f96df76f530" providerId="ADAL" clId="{1344DBB7-B0EC-6C43-BEBE-A6000874D078}" dt="2020-04-19T11:33:01.947" v="1935" actId="20577"/>
          <ac:spMkLst>
            <pc:docMk/>
            <pc:sldMk cId="3209056058" sldId="440"/>
            <ac:spMk id="16" creationId="{B6283CED-F12B-D640-B69C-31DCB8F74681}"/>
          </ac:spMkLst>
        </pc:spChg>
        <pc:picChg chg="del">
          <ac:chgData name="Christopher Schulz" userId="c7a37fbc-fc18-47fa-bc4e-1f96df76f530" providerId="ADAL" clId="{1344DBB7-B0EC-6C43-BEBE-A6000874D078}" dt="2020-04-19T10:49:08.663" v="40" actId="478"/>
          <ac:picMkLst>
            <pc:docMk/>
            <pc:sldMk cId="3209056058" sldId="440"/>
            <ac:picMk id="3" creationId="{7D8E9132-E61A-DF48-B4E5-5571528ED1DC}"/>
          </ac:picMkLst>
        </pc:picChg>
        <pc:picChg chg="add mod modCrop">
          <ac:chgData name="Christopher Schulz" userId="c7a37fbc-fc18-47fa-bc4e-1f96df76f530" providerId="ADAL" clId="{1344DBB7-B0EC-6C43-BEBE-A6000874D078}" dt="2020-04-19T10:50:56.772" v="60" actId="14100"/>
          <ac:picMkLst>
            <pc:docMk/>
            <pc:sldMk cId="3209056058" sldId="440"/>
            <ac:picMk id="4" creationId="{F38A912A-754A-D64A-BBBB-35179000829B}"/>
          </ac:picMkLst>
        </pc:picChg>
      </pc:sldChg>
      <pc:sldChg chg="del">
        <pc:chgData name="Christopher Schulz" userId="c7a37fbc-fc18-47fa-bc4e-1f96df76f530" providerId="ADAL" clId="{1344DBB7-B0EC-6C43-BEBE-A6000874D078}" dt="2020-04-19T10:58:24.465" v="241" actId="2696"/>
        <pc:sldMkLst>
          <pc:docMk/>
          <pc:sldMk cId="262661586" sldId="441"/>
        </pc:sldMkLst>
      </pc:sldChg>
      <pc:sldChg chg="addSp modSp add">
        <pc:chgData name="Christopher Schulz" userId="c7a37fbc-fc18-47fa-bc4e-1f96df76f530" providerId="ADAL" clId="{1344DBB7-B0EC-6C43-BEBE-A6000874D078}" dt="2020-04-19T11:48:18.052" v="2437" actId="1076"/>
        <pc:sldMkLst>
          <pc:docMk/>
          <pc:sldMk cId="1098767168" sldId="442"/>
        </pc:sldMkLst>
        <pc:spChg chg="mod">
          <ac:chgData name="Christopher Schulz" userId="c7a37fbc-fc18-47fa-bc4e-1f96df76f530" providerId="ADAL" clId="{1344DBB7-B0EC-6C43-BEBE-A6000874D078}" dt="2020-04-19T11:31:27.040" v="1865" actId="20577"/>
          <ac:spMkLst>
            <pc:docMk/>
            <pc:sldMk cId="1098767168" sldId="442"/>
            <ac:spMk id="2" creationId="{D68C5A50-1913-4507-988E-B3319E45906C}"/>
          </ac:spMkLst>
        </pc:spChg>
        <pc:spChg chg="mod">
          <ac:chgData name="Christopher Schulz" userId="c7a37fbc-fc18-47fa-bc4e-1f96df76f530" providerId="ADAL" clId="{1344DBB7-B0EC-6C43-BEBE-A6000874D078}" dt="2020-04-19T11:34:40.066" v="1960" actId="20577"/>
          <ac:spMkLst>
            <pc:docMk/>
            <pc:sldMk cId="1098767168" sldId="442"/>
            <ac:spMk id="3" creationId="{5F0B0340-28DE-4C04-BA5A-1EB9C2F0782D}"/>
          </ac:spMkLst>
        </pc:spChg>
        <pc:graphicFrameChg chg="mod modGraphic">
          <ac:chgData name="Christopher Schulz" userId="c7a37fbc-fc18-47fa-bc4e-1f96df76f530" providerId="ADAL" clId="{1344DBB7-B0EC-6C43-BEBE-A6000874D078}" dt="2020-04-19T11:48:10.374" v="2435" actId="20577"/>
          <ac:graphicFrameMkLst>
            <pc:docMk/>
            <pc:sldMk cId="1098767168" sldId="442"/>
            <ac:graphicFrameMk id="30" creationId="{41E15E19-3AB0-5146-BF5E-3FB3187E47EF}"/>
          </ac:graphicFrameMkLst>
        </pc:graphicFrameChg>
        <pc:picChg chg="add mod">
          <ac:chgData name="Christopher Schulz" userId="c7a37fbc-fc18-47fa-bc4e-1f96df76f530" providerId="ADAL" clId="{1344DBB7-B0EC-6C43-BEBE-A6000874D078}" dt="2020-04-19T11:47:42.470" v="2419" actId="1076"/>
          <ac:picMkLst>
            <pc:docMk/>
            <pc:sldMk cId="1098767168" sldId="442"/>
            <ac:picMk id="5" creationId="{BA5674D4-4E22-D843-94D2-D2291C807CC6}"/>
          </ac:picMkLst>
        </pc:picChg>
        <pc:picChg chg="add mod">
          <ac:chgData name="Christopher Schulz" userId="c7a37fbc-fc18-47fa-bc4e-1f96df76f530" providerId="ADAL" clId="{1344DBB7-B0EC-6C43-BEBE-A6000874D078}" dt="2020-04-19T11:48:14.065" v="2436" actId="1076"/>
          <ac:picMkLst>
            <pc:docMk/>
            <pc:sldMk cId="1098767168" sldId="442"/>
            <ac:picMk id="7" creationId="{594DBACB-B944-FB48-8457-FB29E51A5FD5}"/>
          </ac:picMkLst>
        </pc:picChg>
        <pc:picChg chg="add mod">
          <ac:chgData name="Christopher Schulz" userId="c7a37fbc-fc18-47fa-bc4e-1f96df76f530" providerId="ADAL" clId="{1344DBB7-B0EC-6C43-BEBE-A6000874D078}" dt="2020-04-19T11:48:18.052" v="2437" actId="1076"/>
          <ac:picMkLst>
            <pc:docMk/>
            <pc:sldMk cId="1098767168" sldId="442"/>
            <ac:picMk id="9" creationId="{F99846C9-555F-8C48-84B5-D9D0F9B52DBB}"/>
          </ac:picMkLst>
        </pc:picChg>
        <pc:picChg chg="add mod">
          <ac:chgData name="Christopher Schulz" userId="c7a37fbc-fc18-47fa-bc4e-1f96df76f530" providerId="ADAL" clId="{1344DBB7-B0EC-6C43-BEBE-A6000874D078}" dt="2020-04-19T11:47:34.591" v="2418" actId="1037"/>
          <ac:picMkLst>
            <pc:docMk/>
            <pc:sldMk cId="1098767168" sldId="442"/>
            <ac:picMk id="11" creationId="{9DAC7173-9B92-C042-93B7-0E8E387D56F9}"/>
          </ac:picMkLst>
        </pc:picChg>
        <pc:picChg chg="add mod">
          <ac:chgData name="Christopher Schulz" userId="c7a37fbc-fc18-47fa-bc4e-1f96df76f530" providerId="ADAL" clId="{1344DBB7-B0EC-6C43-BEBE-A6000874D078}" dt="2020-04-19T11:47:34.591" v="2418" actId="1037"/>
          <ac:picMkLst>
            <pc:docMk/>
            <pc:sldMk cId="1098767168" sldId="442"/>
            <ac:picMk id="13" creationId="{3C862F11-30C2-764E-BF03-77E9E53760D3}"/>
          </ac:picMkLst>
        </pc:picChg>
      </pc:sldChg>
      <pc:sldMasterChg chg="modSp">
        <pc:chgData name="Christopher Schulz" userId="c7a37fbc-fc18-47fa-bc4e-1f96df76f530" providerId="ADAL" clId="{1344DBB7-B0EC-6C43-BEBE-A6000874D078}" dt="2020-04-19T11:43:18.371" v="2364" actId="2"/>
        <pc:sldMasterMkLst>
          <pc:docMk/>
          <pc:sldMasterMk cId="0" sldId="2147483648"/>
        </pc:sldMasterMkLst>
        <pc:spChg chg="mod">
          <ac:chgData name="Christopher Schulz" userId="c7a37fbc-fc18-47fa-bc4e-1f96df76f530" providerId="ADAL" clId="{1344DBB7-B0EC-6C43-BEBE-A6000874D078}" dt="2020-04-19T11:43:18.371" v="2364" actId="2"/>
          <ac:spMkLst>
            <pc:docMk/>
            <pc:sldMasterMk cId="0" sldId="2147483648"/>
            <ac:spMk id="40" creationId="{00000000-0000-0000-0000-000000000000}"/>
          </ac:spMkLst>
        </pc:spChg>
      </pc:sldMasterChg>
    </pc:docChg>
  </pc:docChgLst>
  <pc:docChgLst>
    <pc:chgData name="Christopher Schulz" userId="c7a37fbc-fc18-47fa-bc4e-1f96df76f530" providerId="ADAL" clId="{07909D77-401E-5946-9962-B79D43D8EA0D}"/>
    <pc:docChg chg="undo custSel delSld modSld">
      <pc:chgData name="Christopher Schulz" userId="c7a37fbc-fc18-47fa-bc4e-1f96df76f530" providerId="ADAL" clId="{07909D77-401E-5946-9962-B79D43D8EA0D}" dt="2020-02-13T18:17:06.195" v="856" actId="20577"/>
      <pc:docMkLst>
        <pc:docMk/>
      </pc:docMkLst>
      <pc:sldChg chg="addSp delSp modSp">
        <pc:chgData name="Christopher Schulz" userId="c7a37fbc-fc18-47fa-bc4e-1f96df76f530" providerId="ADAL" clId="{07909D77-401E-5946-9962-B79D43D8EA0D}" dt="2020-02-13T18:17:06.195" v="856" actId="20577"/>
        <pc:sldMkLst>
          <pc:docMk/>
          <pc:sldMk cId="3168066364" sldId="256"/>
        </pc:sldMkLst>
        <pc:spChg chg="mod">
          <ac:chgData name="Christopher Schulz" userId="c7a37fbc-fc18-47fa-bc4e-1f96df76f530" providerId="ADAL" clId="{07909D77-401E-5946-9962-B79D43D8EA0D}" dt="2020-02-13T14:43:04.068" v="652" actId="790"/>
          <ac:spMkLst>
            <pc:docMk/>
            <pc:sldMk cId="3168066364" sldId="256"/>
            <ac:spMk id="2" creationId="{D68C5A50-1913-4507-988E-B3319E45906C}"/>
          </ac:spMkLst>
        </pc:spChg>
        <pc:spChg chg="mod">
          <ac:chgData name="Christopher Schulz" userId="c7a37fbc-fc18-47fa-bc4e-1f96df76f530" providerId="ADAL" clId="{07909D77-401E-5946-9962-B79D43D8EA0D}" dt="2020-02-13T14:42:59.719" v="651" actId="20577"/>
          <ac:spMkLst>
            <pc:docMk/>
            <pc:sldMk cId="3168066364" sldId="256"/>
            <ac:spMk id="3" creationId="{5F0B0340-28DE-4C04-BA5A-1EB9C2F0782D}"/>
          </ac:spMkLst>
        </pc:spChg>
        <pc:spChg chg="add mod">
          <ac:chgData name="Christopher Schulz" userId="c7a37fbc-fc18-47fa-bc4e-1f96df76f530" providerId="ADAL" clId="{07909D77-401E-5946-9962-B79D43D8EA0D}" dt="2020-02-13T18:16:24.779" v="832" actId="1038"/>
          <ac:spMkLst>
            <pc:docMk/>
            <pc:sldMk cId="3168066364" sldId="256"/>
            <ac:spMk id="4" creationId="{EBA4A055-C615-2444-9C59-062382808570}"/>
          </ac:spMkLst>
        </pc:spChg>
        <pc:spChg chg="mod">
          <ac:chgData name="Christopher Schulz" userId="c7a37fbc-fc18-47fa-bc4e-1f96df76f530" providerId="ADAL" clId="{07909D77-401E-5946-9962-B79D43D8EA0D}" dt="2020-02-13T14:37:39.894" v="536" actId="20577"/>
          <ac:spMkLst>
            <pc:docMk/>
            <pc:sldMk cId="3168066364" sldId="256"/>
            <ac:spMk id="9" creationId="{2CFC355E-1952-E84D-BA17-53C79032133E}"/>
          </ac:spMkLst>
        </pc:spChg>
        <pc:spChg chg="add mod">
          <ac:chgData name="Christopher Schulz" userId="c7a37fbc-fc18-47fa-bc4e-1f96df76f530" providerId="ADAL" clId="{07909D77-401E-5946-9962-B79D43D8EA0D}" dt="2020-02-13T18:17:06.195" v="856" actId="20577"/>
          <ac:spMkLst>
            <pc:docMk/>
            <pc:sldMk cId="3168066364" sldId="256"/>
            <ac:spMk id="11" creationId="{525ECC90-7F91-6F43-81FF-C86B4F03525F}"/>
          </ac:spMkLst>
        </pc:spChg>
        <pc:spChg chg="add mod">
          <ac:chgData name="Christopher Schulz" userId="c7a37fbc-fc18-47fa-bc4e-1f96df76f530" providerId="ADAL" clId="{07909D77-401E-5946-9962-B79D43D8EA0D}" dt="2020-02-13T14:46:03.172" v="817" actId="1076"/>
          <ac:spMkLst>
            <pc:docMk/>
            <pc:sldMk cId="3168066364" sldId="256"/>
            <ac:spMk id="12" creationId="{7C3701C7-6723-5F40-B891-CB0B03C32712}"/>
          </ac:spMkLst>
        </pc:spChg>
        <pc:spChg chg="add mod">
          <ac:chgData name="Christopher Schulz" userId="c7a37fbc-fc18-47fa-bc4e-1f96df76f530" providerId="ADAL" clId="{07909D77-401E-5946-9962-B79D43D8EA0D}" dt="2020-02-13T14:46:03.172" v="817" actId="1076"/>
          <ac:spMkLst>
            <pc:docMk/>
            <pc:sldMk cId="3168066364" sldId="256"/>
            <ac:spMk id="20" creationId="{3B447BF1-B6C2-4548-909F-A281C6E6FC34}"/>
          </ac:spMkLst>
        </pc:spChg>
        <pc:spChg chg="add mod">
          <ac:chgData name="Christopher Schulz" userId="c7a37fbc-fc18-47fa-bc4e-1f96df76f530" providerId="ADAL" clId="{07909D77-401E-5946-9962-B79D43D8EA0D}" dt="2020-02-13T14:46:03.172" v="817" actId="1076"/>
          <ac:spMkLst>
            <pc:docMk/>
            <pc:sldMk cId="3168066364" sldId="256"/>
            <ac:spMk id="24" creationId="{F469DF17-2AF0-AF40-91B7-08D6816BC626}"/>
          </ac:spMkLst>
        </pc:spChg>
        <pc:spChg chg="add del mod">
          <ac:chgData name="Christopher Schulz" userId="c7a37fbc-fc18-47fa-bc4e-1f96df76f530" providerId="ADAL" clId="{07909D77-401E-5946-9962-B79D43D8EA0D}" dt="2020-02-13T14:28:36.726" v="240" actId="478"/>
          <ac:spMkLst>
            <pc:docMk/>
            <pc:sldMk cId="3168066364" sldId="256"/>
            <ac:spMk id="40" creationId="{54105BF7-445E-9445-A8CB-983FCA514E0C}"/>
          </ac:spMkLst>
        </pc:spChg>
        <pc:spChg chg="add del mod">
          <ac:chgData name="Christopher Schulz" userId="c7a37fbc-fc18-47fa-bc4e-1f96df76f530" providerId="ADAL" clId="{07909D77-401E-5946-9962-B79D43D8EA0D}" dt="2020-02-13T14:28:36.726" v="240" actId="478"/>
          <ac:spMkLst>
            <pc:docMk/>
            <pc:sldMk cId="3168066364" sldId="256"/>
            <ac:spMk id="41" creationId="{ABA4D77A-DA35-5143-97B5-15110F03F52E}"/>
          </ac:spMkLst>
        </pc:spChg>
        <pc:spChg chg="add del mod">
          <ac:chgData name="Christopher Schulz" userId="c7a37fbc-fc18-47fa-bc4e-1f96df76f530" providerId="ADAL" clId="{07909D77-401E-5946-9962-B79D43D8EA0D}" dt="2020-02-13T14:28:50.015" v="256"/>
          <ac:spMkLst>
            <pc:docMk/>
            <pc:sldMk cId="3168066364" sldId="256"/>
            <ac:spMk id="42" creationId="{A048750F-15F4-DB4B-8047-FD324E51E250}"/>
          </ac:spMkLst>
        </pc:spChg>
        <pc:spChg chg="add mod">
          <ac:chgData name="Christopher Schulz" userId="c7a37fbc-fc18-47fa-bc4e-1f96df76f530" providerId="ADAL" clId="{07909D77-401E-5946-9962-B79D43D8EA0D}" dt="2020-02-13T14:46:03.172" v="817" actId="1076"/>
          <ac:spMkLst>
            <pc:docMk/>
            <pc:sldMk cId="3168066364" sldId="256"/>
            <ac:spMk id="47" creationId="{76579BF3-EB21-144E-8E9F-47C0CD03AF43}"/>
          </ac:spMkLst>
        </pc:spChg>
        <pc:spChg chg="add mod">
          <ac:chgData name="Christopher Schulz" userId="c7a37fbc-fc18-47fa-bc4e-1f96df76f530" providerId="ADAL" clId="{07909D77-401E-5946-9962-B79D43D8EA0D}" dt="2020-02-13T14:46:03.172" v="817" actId="1076"/>
          <ac:spMkLst>
            <pc:docMk/>
            <pc:sldMk cId="3168066364" sldId="256"/>
            <ac:spMk id="48" creationId="{089310DF-EB75-9F4D-8F3E-44D7BECDFF9A}"/>
          </ac:spMkLst>
        </pc:spChg>
        <pc:spChg chg="add mod">
          <ac:chgData name="Christopher Schulz" userId="c7a37fbc-fc18-47fa-bc4e-1f96df76f530" providerId="ADAL" clId="{07909D77-401E-5946-9962-B79D43D8EA0D}" dt="2020-02-13T18:16:22.041" v="829" actId="1076"/>
          <ac:spMkLst>
            <pc:docMk/>
            <pc:sldMk cId="3168066364" sldId="256"/>
            <ac:spMk id="52" creationId="{AAD92057-2808-7D45-91CF-78137E99BE07}"/>
          </ac:spMkLst>
        </pc:spChg>
        <pc:spChg chg="add mod">
          <ac:chgData name="Christopher Schulz" userId="c7a37fbc-fc18-47fa-bc4e-1f96df76f530" providerId="ADAL" clId="{07909D77-401E-5946-9962-B79D43D8EA0D}" dt="2020-02-13T18:16:22.041" v="829" actId="1076"/>
          <ac:spMkLst>
            <pc:docMk/>
            <pc:sldMk cId="3168066364" sldId="256"/>
            <ac:spMk id="55" creationId="{EB76A127-E6B2-FC40-A1E8-B7F7EB192480}"/>
          </ac:spMkLst>
        </pc:spChg>
        <pc:spChg chg="add mod">
          <ac:chgData name="Christopher Schulz" userId="c7a37fbc-fc18-47fa-bc4e-1f96df76f530" providerId="ADAL" clId="{07909D77-401E-5946-9962-B79D43D8EA0D}" dt="2020-02-13T14:46:08.451" v="818" actId="1076"/>
          <ac:spMkLst>
            <pc:docMk/>
            <pc:sldMk cId="3168066364" sldId="256"/>
            <ac:spMk id="56" creationId="{10D63E0A-4BE3-A147-A2CA-128028B6D9C3}"/>
          </ac:spMkLst>
        </pc:spChg>
        <pc:spChg chg="add mod">
          <ac:chgData name="Christopher Schulz" userId="c7a37fbc-fc18-47fa-bc4e-1f96df76f530" providerId="ADAL" clId="{07909D77-401E-5946-9962-B79D43D8EA0D}" dt="2020-02-13T14:46:03.172" v="817" actId="1076"/>
          <ac:spMkLst>
            <pc:docMk/>
            <pc:sldMk cId="3168066364" sldId="256"/>
            <ac:spMk id="57" creationId="{1B0EE509-73DD-6E49-8828-0A28D8365F73}"/>
          </ac:spMkLst>
        </pc:spChg>
        <pc:spChg chg="add mod">
          <ac:chgData name="Christopher Schulz" userId="c7a37fbc-fc18-47fa-bc4e-1f96df76f530" providerId="ADAL" clId="{07909D77-401E-5946-9962-B79D43D8EA0D}" dt="2020-02-13T14:47:16.814" v="826" actId="1076"/>
          <ac:spMkLst>
            <pc:docMk/>
            <pc:sldMk cId="3168066364" sldId="256"/>
            <ac:spMk id="58" creationId="{7B2020FF-33DE-E045-A93A-75BF2EBDBA32}"/>
          </ac:spMkLst>
        </pc:spChg>
        <pc:spChg chg="add mod">
          <ac:chgData name="Christopher Schulz" userId="c7a37fbc-fc18-47fa-bc4e-1f96df76f530" providerId="ADAL" clId="{07909D77-401E-5946-9962-B79D43D8EA0D}" dt="2020-02-13T14:47:09.571" v="824" actId="1076"/>
          <ac:spMkLst>
            <pc:docMk/>
            <pc:sldMk cId="3168066364" sldId="256"/>
            <ac:spMk id="63" creationId="{0F54640C-E12E-D44F-BE3B-B5C1D3A3F457}"/>
          </ac:spMkLst>
        </pc:spChg>
        <pc:graphicFrameChg chg="del">
          <ac:chgData name="Christopher Schulz" userId="c7a37fbc-fc18-47fa-bc4e-1f96df76f530" providerId="ADAL" clId="{07909D77-401E-5946-9962-B79D43D8EA0D}" dt="2020-02-13T14:20:22.857" v="70" actId="478"/>
          <ac:graphicFrameMkLst>
            <pc:docMk/>
            <pc:sldMk cId="3168066364" sldId="256"/>
            <ac:graphicFrameMk id="6" creationId="{78112048-7899-1C44-B8EC-A001E6C13E15}"/>
          </ac:graphicFrameMkLst>
        </pc:graphicFrameChg>
        <pc:graphicFrameChg chg="del">
          <ac:chgData name="Christopher Schulz" userId="c7a37fbc-fc18-47fa-bc4e-1f96df76f530" providerId="ADAL" clId="{07909D77-401E-5946-9962-B79D43D8EA0D}" dt="2020-02-13T14:20:22.857" v="70" actId="478"/>
          <ac:graphicFrameMkLst>
            <pc:docMk/>
            <pc:sldMk cId="3168066364" sldId="256"/>
            <ac:graphicFrameMk id="7" creationId="{CAD18F1B-98FB-EB44-B6EA-BE897FC3E456}"/>
          </ac:graphicFrameMkLst>
        </pc:graphicFrameChg>
        <pc:picChg chg="del">
          <ac:chgData name="Christopher Schulz" userId="c7a37fbc-fc18-47fa-bc4e-1f96df76f530" providerId="ADAL" clId="{07909D77-401E-5946-9962-B79D43D8EA0D}" dt="2020-02-13T14:20:22.857" v="70" actId="478"/>
          <ac:picMkLst>
            <pc:docMk/>
            <pc:sldMk cId="3168066364" sldId="256"/>
            <ac:picMk id="8" creationId="{859A143B-A9FE-5B4C-8403-450E9D19B681}"/>
          </ac:picMkLst>
        </pc:picChg>
        <pc:picChg chg="del">
          <ac:chgData name="Christopher Schulz" userId="c7a37fbc-fc18-47fa-bc4e-1f96df76f530" providerId="ADAL" clId="{07909D77-401E-5946-9962-B79D43D8EA0D}" dt="2020-02-13T14:20:22.857" v="70" actId="478"/>
          <ac:picMkLst>
            <pc:docMk/>
            <pc:sldMk cId="3168066364" sldId="256"/>
            <ac:picMk id="10" creationId="{D50F8B04-D52E-D14A-9520-3709A897368F}"/>
          </ac:picMkLst>
        </pc:picChg>
        <pc:picChg chg="add del mod">
          <ac:chgData name="Christopher Schulz" userId="c7a37fbc-fc18-47fa-bc4e-1f96df76f530" providerId="ADAL" clId="{07909D77-401E-5946-9962-B79D43D8EA0D}" dt="2020-02-13T14:41:12.155" v="567" actId="478"/>
          <ac:picMkLst>
            <pc:docMk/>
            <pc:sldMk cId="3168066364" sldId="256"/>
            <ac:picMk id="65" creationId="{CC3B2B9C-965B-194A-ABFB-316C6D5C34C1}"/>
          </ac:picMkLst>
        </pc:picChg>
        <pc:picChg chg="add mod">
          <ac:chgData name="Christopher Schulz" userId="c7a37fbc-fc18-47fa-bc4e-1f96df76f530" providerId="ADAL" clId="{07909D77-401E-5946-9962-B79D43D8EA0D}" dt="2020-02-13T14:46:03.172" v="817" actId="1076"/>
          <ac:picMkLst>
            <pc:docMk/>
            <pc:sldMk cId="3168066364" sldId="256"/>
            <ac:picMk id="67" creationId="{21F0E87E-9B89-C342-AD8D-A812BF83D754}"/>
          </ac:picMkLst>
        </pc:picChg>
        <pc:picChg chg="add mod">
          <ac:chgData name="Christopher Schulz" userId="c7a37fbc-fc18-47fa-bc4e-1f96df76f530" providerId="ADAL" clId="{07909D77-401E-5946-9962-B79D43D8EA0D}" dt="2020-02-13T14:46:03.172" v="817" actId="1076"/>
          <ac:picMkLst>
            <pc:docMk/>
            <pc:sldMk cId="3168066364" sldId="256"/>
            <ac:picMk id="69" creationId="{49CD0D3F-AB96-8246-8408-5FAFF9B497B7}"/>
          </ac:picMkLst>
        </pc:picChg>
        <pc:picChg chg="add del mod">
          <ac:chgData name="Christopher Schulz" userId="c7a37fbc-fc18-47fa-bc4e-1f96df76f530" providerId="ADAL" clId="{07909D77-401E-5946-9962-B79D43D8EA0D}" dt="2020-02-13T14:41:12.155" v="567" actId="478"/>
          <ac:picMkLst>
            <pc:docMk/>
            <pc:sldMk cId="3168066364" sldId="256"/>
            <ac:picMk id="71" creationId="{BD2BEEAE-D043-574E-B28E-DD4913AC4689}"/>
          </ac:picMkLst>
        </pc:picChg>
        <pc:picChg chg="add mod">
          <ac:chgData name="Christopher Schulz" userId="c7a37fbc-fc18-47fa-bc4e-1f96df76f530" providerId="ADAL" clId="{07909D77-401E-5946-9962-B79D43D8EA0D}" dt="2020-02-13T14:46:03.172" v="817" actId="1076"/>
          <ac:picMkLst>
            <pc:docMk/>
            <pc:sldMk cId="3168066364" sldId="256"/>
            <ac:picMk id="73" creationId="{8F1F2886-5F91-A849-92C8-398E3F7B5350}"/>
          </ac:picMkLst>
        </pc:picChg>
        <pc:picChg chg="add mod">
          <ac:chgData name="Christopher Schulz" userId="c7a37fbc-fc18-47fa-bc4e-1f96df76f530" providerId="ADAL" clId="{07909D77-401E-5946-9962-B79D43D8EA0D}" dt="2020-02-13T14:46:03.172" v="817" actId="1076"/>
          <ac:picMkLst>
            <pc:docMk/>
            <pc:sldMk cId="3168066364" sldId="256"/>
            <ac:picMk id="75" creationId="{61A481AC-2C84-634E-889D-B57122DAE414}"/>
          </ac:picMkLst>
        </pc:picChg>
        <pc:cxnChg chg="add mod">
          <ac:chgData name="Christopher Schulz" userId="c7a37fbc-fc18-47fa-bc4e-1f96df76f530" providerId="ADAL" clId="{07909D77-401E-5946-9962-B79D43D8EA0D}" dt="2020-02-13T18:16:24.779" v="832" actId="1038"/>
          <ac:cxnSpMkLst>
            <pc:docMk/>
            <pc:sldMk cId="3168066364" sldId="256"/>
            <ac:cxnSpMk id="13" creationId="{276038E9-BA9E-2744-B068-8E99E3FDAD2E}"/>
          </ac:cxnSpMkLst>
        </pc:cxnChg>
        <pc:cxnChg chg="add mod">
          <ac:chgData name="Christopher Schulz" userId="c7a37fbc-fc18-47fa-bc4e-1f96df76f530" providerId="ADAL" clId="{07909D77-401E-5946-9962-B79D43D8EA0D}" dt="2020-02-13T18:16:24.779" v="832" actId="1038"/>
          <ac:cxnSpMkLst>
            <pc:docMk/>
            <pc:sldMk cId="3168066364" sldId="256"/>
            <ac:cxnSpMk id="15" creationId="{D0E8B1AC-D997-CA4A-88CB-E2A2065DBD22}"/>
          </ac:cxnSpMkLst>
        </pc:cxnChg>
        <pc:cxnChg chg="add del mod">
          <ac:chgData name="Christopher Schulz" userId="c7a37fbc-fc18-47fa-bc4e-1f96df76f530" providerId="ADAL" clId="{07909D77-401E-5946-9962-B79D43D8EA0D}" dt="2020-02-13T14:23:13.101" v="158" actId="478"/>
          <ac:cxnSpMkLst>
            <pc:docMk/>
            <pc:sldMk cId="3168066364" sldId="256"/>
            <ac:cxnSpMk id="17" creationId="{152B474B-1385-C640-8D90-E90EE0944AC3}"/>
          </ac:cxnSpMkLst>
        </pc:cxnChg>
        <pc:cxnChg chg="add mod">
          <ac:chgData name="Christopher Schulz" userId="c7a37fbc-fc18-47fa-bc4e-1f96df76f530" providerId="ADAL" clId="{07909D77-401E-5946-9962-B79D43D8EA0D}" dt="2020-02-13T18:16:24.779" v="832" actId="1038"/>
          <ac:cxnSpMkLst>
            <pc:docMk/>
            <pc:sldMk cId="3168066364" sldId="256"/>
            <ac:cxnSpMk id="19" creationId="{1A447975-C2F0-7A43-BCA5-6679E37A6083}"/>
          </ac:cxnSpMkLst>
        </pc:cxnChg>
        <pc:cxnChg chg="add mod">
          <ac:chgData name="Christopher Schulz" userId="c7a37fbc-fc18-47fa-bc4e-1f96df76f530" providerId="ADAL" clId="{07909D77-401E-5946-9962-B79D43D8EA0D}" dt="2020-02-13T14:47:00.896" v="822" actId="14100"/>
          <ac:cxnSpMkLst>
            <pc:docMk/>
            <pc:sldMk cId="3168066364" sldId="256"/>
            <ac:cxnSpMk id="25" creationId="{D9142291-DC66-4C46-A135-9CC157BF6704}"/>
          </ac:cxnSpMkLst>
        </pc:cxnChg>
        <pc:cxnChg chg="add mod">
          <ac:chgData name="Christopher Schulz" userId="c7a37fbc-fc18-47fa-bc4e-1f96df76f530" providerId="ADAL" clId="{07909D77-401E-5946-9962-B79D43D8EA0D}" dt="2020-02-13T14:46:53.808" v="820" actId="14100"/>
          <ac:cxnSpMkLst>
            <pc:docMk/>
            <pc:sldMk cId="3168066364" sldId="256"/>
            <ac:cxnSpMk id="28" creationId="{22EA9298-ABC5-574E-8E7F-8313A1C8E1F3}"/>
          </ac:cxnSpMkLst>
        </pc:cxnChg>
        <pc:cxnChg chg="add mod">
          <ac:chgData name="Christopher Schulz" userId="c7a37fbc-fc18-47fa-bc4e-1f96df76f530" providerId="ADAL" clId="{07909D77-401E-5946-9962-B79D43D8EA0D}" dt="2020-02-13T14:47:14.384" v="825" actId="14100"/>
          <ac:cxnSpMkLst>
            <pc:docMk/>
            <pc:sldMk cId="3168066364" sldId="256"/>
            <ac:cxnSpMk id="43" creationId="{580DF897-3A19-3E49-A1D0-33F6FDC8861C}"/>
          </ac:cxnSpMkLst>
        </pc:cxnChg>
        <pc:cxnChg chg="add mod">
          <ac:chgData name="Christopher Schulz" userId="c7a37fbc-fc18-47fa-bc4e-1f96df76f530" providerId="ADAL" clId="{07909D77-401E-5946-9962-B79D43D8EA0D}" dt="2020-02-13T14:47:06.221" v="823" actId="14100"/>
          <ac:cxnSpMkLst>
            <pc:docMk/>
            <pc:sldMk cId="3168066364" sldId="256"/>
            <ac:cxnSpMk id="45" creationId="{59AD6A25-97F8-074F-9989-46709164F64A}"/>
          </ac:cxnSpMkLst>
        </pc:cxnChg>
      </pc:sldChg>
      <pc:sldChg chg="modSp">
        <pc:chgData name="Christopher Schulz" userId="c7a37fbc-fc18-47fa-bc4e-1f96df76f530" providerId="ADAL" clId="{07909D77-401E-5946-9962-B79D43D8EA0D}" dt="2020-02-13T14:45:11.791" v="816" actId="20577"/>
        <pc:sldMkLst>
          <pc:docMk/>
          <pc:sldMk cId="1472519979" sldId="436"/>
        </pc:sldMkLst>
        <pc:spChg chg="mod">
          <ac:chgData name="Christopher Schulz" userId="c7a37fbc-fc18-47fa-bc4e-1f96df76f530" providerId="ADAL" clId="{07909D77-401E-5946-9962-B79D43D8EA0D}" dt="2020-02-13T14:45:11.791" v="816" actId="20577"/>
          <ac:spMkLst>
            <pc:docMk/>
            <pc:sldMk cId="1472519979" sldId="436"/>
            <ac:spMk id="10" creationId="{274B8FD3-DE57-F04F-8CE3-DD4FB0B74771}"/>
          </ac:spMkLst>
        </pc:spChg>
      </pc:sldChg>
      <pc:sldChg chg="del">
        <pc:chgData name="Christopher Schulz" userId="c7a37fbc-fc18-47fa-bc4e-1f96df76f530" providerId="ADAL" clId="{07909D77-401E-5946-9962-B79D43D8EA0D}" dt="2020-02-13T14:43:06.885" v="653" actId="2696"/>
        <pc:sldMkLst>
          <pc:docMk/>
          <pc:sldMk cId="3192340078" sldId="439"/>
        </pc:sldMkLst>
      </pc:sldChg>
      <pc:sldChg chg="addSp delSp modSp">
        <pc:chgData name="Christopher Schulz" userId="c7a37fbc-fc18-47fa-bc4e-1f96df76f530" providerId="ADAL" clId="{07909D77-401E-5946-9962-B79D43D8EA0D}" dt="2020-02-13T14:42:39.821" v="601" actId="790"/>
        <pc:sldMkLst>
          <pc:docMk/>
          <pc:sldMk cId="3209056058" sldId="440"/>
        </pc:sldMkLst>
        <pc:spChg chg="add del mod">
          <ac:chgData name="Christopher Schulz" userId="c7a37fbc-fc18-47fa-bc4e-1f96df76f530" providerId="ADAL" clId="{07909D77-401E-5946-9962-B79D43D8EA0D}" dt="2020-02-13T14:17:52.809" v="39" actId="1076"/>
          <ac:spMkLst>
            <pc:docMk/>
            <pc:sldMk cId="3209056058" sldId="440"/>
            <ac:spMk id="12" creationId="{32EF9AB9-F3CC-6340-AFA5-FD80FF545825}"/>
          </ac:spMkLst>
        </pc:spChg>
        <pc:spChg chg="mod">
          <ac:chgData name="Christopher Schulz" userId="c7a37fbc-fc18-47fa-bc4e-1f96df76f530" providerId="ADAL" clId="{07909D77-401E-5946-9962-B79D43D8EA0D}" dt="2020-02-13T14:42:39.821" v="601" actId="790"/>
          <ac:spMkLst>
            <pc:docMk/>
            <pc:sldMk cId="3209056058" sldId="440"/>
            <ac:spMk id="16" creationId="{B6283CED-F12B-D640-B69C-31DCB8F74681}"/>
          </ac:spMkLst>
        </pc:spChg>
        <pc:picChg chg="del">
          <ac:chgData name="Christopher Schulz" userId="c7a37fbc-fc18-47fa-bc4e-1f96df76f530" providerId="ADAL" clId="{07909D77-401E-5946-9962-B79D43D8EA0D}" dt="2020-02-13T14:12:59.963" v="3" actId="478"/>
          <ac:picMkLst>
            <pc:docMk/>
            <pc:sldMk cId="3209056058" sldId="440"/>
            <ac:picMk id="2" creationId="{C2CEF475-9A19-4341-ADF8-E13142A5A511}"/>
          </ac:picMkLst>
        </pc:picChg>
        <pc:picChg chg="add del mod">
          <ac:chgData name="Christopher Schulz" userId="c7a37fbc-fc18-47fa-bc4e-1f96df76f530" providerId="ADAL" clId="{07909D77-401E-5946-9962-B79D43D8EA0D}" dt="2020-02-13T14:13:22.157" v="6" actId="478"/>
          <ac:picMkLst>
            <pc:docMk/>
            <pc:sldMk cId="3209056058" sldId="440"/>
            <ac:picMk id="3" creationId="{41DC4C78-3AF1-974B-98D6-5B824704C6B7}"/>
          </ac:picMkLst>
        </pc:picChg>
        <pc:picChg chg="add del">
          <ac:chgData name="Christopher Schulz" userId="c7a37fbc-fc18-47fa-bc4e-1f96df76f530" providerId="ADAL" clId="{07909D77-401E-5946-9962-B79D43D8EA0D}" dt="2020-02-13T14:13:50.969" v="8" actId="478"/>
          <ac:picMkLst>
            <pc:docMk/>
            <pc:sldMk cId="3209056058" sldId="440"/>
            <ac:picMk id="4" creationId="{BAAA6DFA-B180-AA4A-B323-7F5836D6AD8C}"/>
          </ac:picMkLst>
        </pc:picChg>
        <pc:picChg chg="add mod modCrop">
          <ac:chgData name="Christopher Schulz" userId="c7a37fbc-fc18-47fa-bc4e-1f96df76f530" providerId="ADAL" clId="{07909D77-401E-5946-9962-B79D43D8EA0D}" dt="2020-02-13T14:17:45.501" v="38" actId="167"/>
          <ac:picMkLst>
            <pc:docMk/>
            <pc:sldMk cId="3209056058" sldId="440"/>
            <ac:picMk id="5" creationId="{CB4EEF46-D9DA-C346-B025-B21C8C8541AB}"/>
          </ac:picMkLst>
        </pc:picChg>
      </pc:sldChg>
    </pc:docChg>
  </pc:docChgLst>
  <pc:docChgLst>
    <pc:chgData name="Schulz, Christopher" userId="cad6b6ae-751c-46c4-aef3-338098c68775" providerId="ADAL" clId="{2DA82864-186B-48ED-9B68-E00277182BAC}"/>
  </pc:docChgLst>
  <pc:docChgLst>
    <pc:chgData name="Christopher Schulz" userId="f5aef4d08ea75fb0" providerId="LiveId" clId="{82233AE6-4437-B84B-852A-6D2B0C086037}"/>
  </pc:docChgLst>
  <pc:docChgLst>
    <pc:chgData name="Christopher Schulz" userId="c7a37fbc-fc18-47fa-bc4e-1f96df76f530" providerId="ADAL" clId="{EAE2171F-DF41-604A-B96D-11A863CBD639}"/>
    <pc:docChg chg="undo custSel addSld delSld modSld">
      <pc:chgData name="Christopher Schulz" userId="c7a37fbc-fc18-47fa-bc4e-1f96df76f530" providerId="ADAL" clId="{EAE2171F-DF41-604A-B96D-11A863CBD639}" dt="2020-01-07T09:04:13.883" v="2098" actId="1076"/>
      <pc:docMkLst>
        <pc:docMk/>
      </pc:docMkLst>
      <pc:sldChg chg="addSp delSp modSp">
        <pc:chgData name="Christopher Schulz" userId="c7a37fbc-fc18-47fa-bc4e-1f96df76f530" providerId="ADAL" clId="{EAE2171F-DF41-604A-B96D-11A863CBD639}" dt="2020-01-07T08:04:10.818" v="2074" actId="20577"/>
        <pc:sldMkLst>
          <pc:docMk/>
          <pc:sldMk cId="3168066364" sldId="256"/>
        </pc:sldMkLst>
        <pc:spChg chg="mod">
          <ac:chgData name="Christopher Schulz" userId="c7a37fbc-fc18-47fa-bc4e-1f96df76f530" providerId="ADAL" clId="{EAE2171F-DF41-604A-B96D-11A863CBD639}" dt="2020-01-05T15:31:53.148" v="1954" actId="790"/>
          <ac:spMkLst>
            <pc:docMk/>
            <pc:sldMk cId="3168066364" sldId="256"/>
            <ac:spMk id="2" creationId="{D68C5A50-1913-4507-988E-B3319E45906C}"/>
          </ac:spMkLst>
        </pc:spChg>
        <pc:spChg chg="mod">
          <ac:chgData name="Christopher Schulz" userId="c7a37fbc-fc18-47fa-bc4e-1f96df76f530" providerId="ADAL" clId="{EAE2171F-DF41-604A-B96D-11A863CBD639}" dt="2020-01-05T14:36:44.917" v="838" actId="20577"/>
          <ac:spMkLst>
            <pc:docMk/>
            <pc:sldMk cId="3168066364" sldId="256"/>
            <ac:spMk id="3" creationId="{5F0B0340-28DE-4C04-BA5A-1EB9C2F0782D}"/>
          </ac:spMkLst>
        </pc:spChg>
        <pc:graphicFrameChg chg="add del">
          <ac:chgData name="Christopher Schulz" userId="c7a37fbc-fc18-47fa-bc4e-1f96df76f530" providerId="ADAL" clId="{EAE2171F-DF41-604A-B96D-11A863CBD639}" dt="2020-01-05T14:33:11.984" v="602"/>
          <ac:graphicFrameMkLst>
            <pc:docMk/>
            <pc:sldMk cId="3168066364" sldId="256"/>
            <ac:graphicFrameMk id="4" creationId="{725C9E8C-1946-4547-9968-C17B8D89679F}"/>
          </ac:graphicFrameMkLst>
        </pc:graphicFrameChg>
        <pc:graphicFrameChg chg="mod modGraphic">
          <ac:chgData name="Christopher Schulz" userId="c7a37fbc-fc18-47fa-bc4e-1f96df76f530" providerId="ADAL" clId="{EAE2171F-DF41-604A-B96D-11A863CBD639}" dt="2020-01-07T08:04:10.818" v="2074" actId="20577"/>
          <ac:graphicFrameMkLst>
            <pc:docMk/>
            <pc:sldMk cId="3168066364" sldId="256"/>
            <ac:graphicFrameMk id="6" creationId="{78112048-7899-1C44-B8EC-A001E6C13E15}"/>
          </ac:graphicFrameMkLst>
        </pc:graphicFrameChg>
        <pc:graphicFrameChg chg="add del mod modGraphic">
          <ac:chgData name="Christopher Schulz" userId="c7a37fbc-fc18-47fa-bc4e-1f96df76f530" providerId="ADAL" clId="{EAE2171F-DF41-604A-B96D-11A863CBD639}" dt="2020-01-05T15:31:25.334" v="1946" actId="20577"/>
          <ac:graphicFrameMkLst>
            <pc:docMk/>
            <pc:sldMk cId="3168066364" sldId="256"/>
            <ac:graphicFrameMk id="7" creationId="{CAD18F1B-98FB-EB44-B6EA-BE897FC3E456}"/>
          </ac:graphicFrameMkLst>
        </pc:graphicFrameChg>
        <pc:picChg chg="add mod">
          <ac:chgData name="Christopher Schulz" userId="c7a37fbc-fc18-47fa-bc4e-1f96df76f530" providerId="ADAL" clId="{EAE2171F-DF41-604A-B96D-11A863CBD639}" dt="2020-01-05T15:31:28.417" v="1947" actId="1076"/>
          <ac:picMkLst>
            <pc:docMk/>
            <pc:sldMk cId="3168066364" sldId="256"/>
            <ac:picMk id="8" creationId="{859A143B-A9FE-5B4C-8403-450E9D19B681}"/>
          </ac:picMkLst>
        </pc:picChg>
        <pc:picChg chg="add mod">
          <ac:chgData name="Christopher Schulz" userId="c7a37fbc-fc18-47fa-bc4e-1f96df76f530" providerId="ADAL" clId="{EAE2171F-DF41-604A-B96D-11A863CBD639}" dt="2020-01-05T15:31:19.912" v="1941" actId="1038"/>
          <ac:picMkLst>
            <pc:docMk/>
            <pc:sldMk cId="3168066364" sldId="256"/>
            <ac:picMk id="10" creationId="{D50F8B04-D52E-D14A-9520-3709A897368F}"/>
          </ac:picMkLst>
        </pc:picChg>
      </pc:sldChg>
      <pc:sldChg chg="del">
        <pc:chgData name="Christopher Schulz" userId="c7a37fbc-fc18-47fa-bc4e-1f96df76f530" providerId="ADAL" clId="{EAE2171F-DF41-604A-B96D-11A863CBD639}" dt="2020-01-05T14:54:10.578" v="1477" actId="2696"/>
        <pc:sldMkLst>
          <pc:docMk/>
          <pc:sldMk cId="1432570934" sldId="428"/>
        </pc:sldMkLst>
      </pc:sldChg>
      <pc:sldChg chg="del">
        <pc:chgData name="Christopher Schulz" userId="c7a37fbc-fc18-47fa-bc4e-1f96df76f530" providerId="ADAL" clId="{EAE2171F-DF41-604A-B96D-11A863CBD639}" dt="2020-01-05T14:54:11.087" v="1479" actId="2696"/>
        <pc:sldMkLst>
          <pc:docMk/>
          <pc:sldMk cId="269611952" sldId="430"/>
        </pc:sldMkLst>
      </pc:sldChg>
      <pc:sldChg chg="del">
        <pc:chgData name="Christopher Schulz" userId="c7a37fbc-fc18-47fa-bc4e-1f96df76f530" providerId="ADAL" clId="{EAE2171F-DF41-604A-B96D-11A863CBD639}" dt="2020-01-05T14:54:11.271" v="1480" actId="2696"/>
        <pc:sldMkLst>
          <pc:docMk/>
          <pc:sldMk cId="2682155137" sldId="433"/>
        </pc:sldMkLst>
      </pc:sldChg>
      <pc:sldChg chg="addSp delSp modSp">
        <pc:chgData name="Christopher Schulz" userId="c7a37fbc-fc18-47fa-bc4e-1f96df76f530" providerId="ADAL" clId="{EAE2171F-DF41-604A-B96D-11A863CBD639}" dt="2020-01-05T15:33:15.933" v="2068" actId="20577"/>
        <pc:sldMkLst>
          <pc:docMk/>
          <pc:sldMk cId="1472519979" sldId="436"/>
        </pc:sldMkLst>
        <pc:spChg chg="mod">
          <ac:chgData name="Christopher Schulz" userId="c7a37fbc-fc18-47fa-bc4e-1f96df76f530" providerId="ADAL" clId="{EAE2171F-DF41-604A-B96D-11A863CBD639}" dt="2020-01-05T15:33:15.933" v="2068" actId="20577"/>
          <ac:spMkLst>
            <pc:docMk/>
            <pc:sldMk cId="1472519979" sldId="436"/>
            <ac:spMk id="2" creationId="{6D202977-80CB-8D49-9114-5E34A0AD02D3}"/>
          </ac:spMkLst>
        </pc:spChg>
        <pc:spChg chg="mod">
          <ac:chgData name="Christopher Schulz" userId="c7a37fbc-fc18-47fa-bc4e-1f96df76f530" providerId="ADAL" clId="{EAE2171F-DF41-604A-B96D-11A863CBD639}" dt="2020-01-05T15:32:55.981" v="2025" actId="20577"/>
          <ac:spMkLst>
            <pc:docMk/>
            <pc:sldMk cId="1472519979" sldId="436"/>
            <ac:spMk id="3" creationId="{AA7F89C0-AD47-2F41-ADB5-148CE4D47C23}"/>
          </ac:spMkLst>
        </pc:spChg>
        <pc:spChg chg="mod">
          <ac:chgData name="Christopher Schulz" userId="c7a37fbc-fc18-47fa-bc4e-1f96df76f530" providerId="ADAL" clId="{EAE2171F-DF41-604A-B96D-11A863CBD639}" dt="2020-01-05T15:01:04.085" v="1761" actId="20577"/>
          <ac:spMkLst>
            <pc:docMk/>
            <pc:sldMk cId="1472519979" sldId="436"/>
            <ac:spMk id="9" creationId="{CF9ADDBA-443B-204E-B32A-778FA29DB81E}"/>
          </ac:spMkLst>
        </pc:spChg>
        <pc:spChg chg="mod">
          <ac:chgData name="Christopher Schulz" userId="c7a37fbc-fc18-47fa-bc4e-1f96df76f530" providerId="ADAL" clId="{EAE2171F-DF41-604A-B96D-11A863CBD639}" dt="2020-01-05T14:58:45.917" v="1691" actId="20577"/>
          <ac:spMkLst>
            <pc:docMk/>
            <pc:sldMk cId="1472519979" sldId="436"/>
            <ac:spMk id="10" creationId="{274B8FD3-DE57-F04F-8CE3-DD4FB0B74771}"/>
          </ac:spMkLst>
        </pc:spChg>
        <pc:picChg chg="add mod">
          <ac:chgData name="Christopher Schulz" userId="c7a37fbc-fc18-47fa-bc4e-1f96df76f530" providerId="ADAL" clId="{EAE2171F-DF41-604A-B96D-11A863CBD639}" dt="2020-01-05T15:00:05.483" v="1750" actId="1076"/>
          <ac:picMkLst>
            <pc:docMk/>
            <pc:sldMk cId="1472519979" sldId="436"/>
            <ac:picMk id="7" creationId="{301A4DA2-27BA-694C-B28B-1E2FD338D7BA}"/>
          </ac:picMkLst>
        </pc:picChg>
        <pc:picChg chg="del">
          <ac:chgData name="Christopher Schulz" userId="c7a37fbc-fc18-47fa-bc4e-1f96df76f530" providerId="ADAL" clId="{EAE2171F-DF41-604A-B96D-11A863CBD639}" dt="2020-01-05T14:59:54.695" v="1745" actId="478"/>
          <ac:picMkLst>
            <pc:docMk/>
            <pc:sldMk cId="1472519979" sldId="436"/>
            <ac:picMk id="8" creationId="{85906011-DFCF-6E41-8E6C-974E178A2AE4}"/>
          </ac:picMkLst>
        </pc:picChg>
      </pc:sldChg>
      <pc:sldChg chg="addSp delSp modSp del modNotesTx">
        <pc:chgData name="Christopher Schulz" userId="c7a37fbc-fc18-47fa-bc4e-1f96df76f530" providerId="ADAL" clId="{EAE2171F-DF41-604A-B96D-11A863CBD639}" dt="2020-01-05T15:28:19.237" v="1926" actId="2696"/>
        <pc:sldMkLst>
          <pc:docMk/>
          <pc:sldMk cId="1131587553" sldId="437"/>
        </pc:sldMkLst>
        <pc:spChg chg="add del">
          <ac:chgData name="Christopher Schulz" userId="c7a37fbc-fc18-47fa-bc4e-1f96df76f530" providerId="ADAL" clId="{EAE2171F-DF41-604A-B96D-11A863CBD639}" dt="2020-01-05T15:27:49.259" v="1921" actId="478"/>
          <ac:spMkLst>
            <pc:docMk/>
            <pc:sldMk cId="1131587553" sldId="437"/>
            <ac:spMk id="2" creationId="{EB45F231-E487-4271-9057-B362EF649847}"/>
          </ac:spMkLst>
        </pc:spChg>
        <pc:spChg chg="add del">
          <ac:chgData name="Christopher Schulz" userId="c7a37fbc-fc18-47fa-bc4e-1f96df76f530" providerId="ADAL" clId="{EAE2171F-DF41-604A-B96D-11A863CBD639}" dt="2020-01-05T15:26:17.167" v="1901"/>
          <ac:spMkLst>
            <pc:docMk/>
            <pc:sldMk cId="1131587553" sldId="437"/>
            <ac:spMk id="6" creationId="{E6BCA6DC-87A3-45A3-8418-850F5E83F93D}"/>
          </ac:spMkLst>
        </pc:spChg>
        <pc:spChg chg="mod">
          <ac:chgData name="Christopher Schulz" userId="c7a37fbc-fc18-47fa-bc4e-1f96df76f530" providerId="ADAL" clId="{EAE2171F-DF41-604A-B96D-11A863CBD639}" dt="2020-01-05T15:02:29.882" v="1774" actId="20577"/>
          <ac:spMkLst>
            <pc:docMk/>
            <pc:sldMk cId="1131587553" sldId="437"/>
            <ac:spMk id="8" creationId="{D596532F-93B4-474D-9305-298699D9090B}"/>
          </ac:spMkLst>
        </pc:spChg>
        <pc:picChg chg="add del">
          <ac:chgData name="Christopher Schulz" userId="c7a37fbc-fc18-47fa-bc4e-1f96df76f530" providerId="ADAL" clId="{EAE2171F-DF41-604A-B96D-11A863CBD639}" dt="2020-01-05T15:27:52.143" v="1922" actId="478"/>
          <ac:picMkLst>
            <pc:docMk/>
            <pc:sldMk cId="1131587553" sldId="437"/>
            <ac:picMk id="3" creationId="{C1084879-260D-453B-8097-6930EC92BC9B}"/>
          </ac:picMkLst>
        </pc:picChg>
        <pc:picChg chg="add del mod">
          <ac:chgData name="Christopher Schulz" userId="c7a37fbc-fc18-47fa-bc4e-1f96df76f530" providerId="ADAL" clId="{EAE2171F-DF41-604A-B96D-11A863CBD639}" dt="2020-01-05T15:21:58.042" v="1868"/>
          <ac:picMkLst>
            <pc:docMk/>
            <pc:sldMk cId="1131587553" sldId="437"/>
            <ac:picMk id="4" creationId="{6B288969-7676-9D43-8A47-94A4E01AA80A}"/>
          </ac:picMkLst>
        </pc:picChg>
        <pc:picChg chg="add del mod">
          <ac:chgData name="Christopher Schulz" userId="c7a37fbc-fc18-47fa-bc4e-1f96df76f530" providerId="ADAL" clId="{EAE2171F-DF41-604A-B96D-11A863CBD639}" dt="2020-01-05T15:22:41.201" v="1876"/>
          <ac:picMkLst>
            <pc:docMk/>
            <pc:sldMk cId="1131587553" sldId="437"/>
            <ac:picMk id="9" creationId="{E76F9A5A-E088-774E-81C6-A4FE1CC80DC1}"/>
          </ac:picMkLst>
        </pc:picChg>
      </pc:sldChg>
      <pc:sldChg chg="del">
        <pc:chgData name="Christopher Schulz" userId="c7a37fbc-fc18-47fa-bc4e-1f96df76f530" providerId="ADAL" clId="{EAE2171F-DF41-604A-B96D-11A863CBD639}" dt="2020-01-05T14:54:10.779" v="1478" actId="2696"/>
        <pc:sldMkLst>
          <pc:docMk/>
          <pc:sldMk cId="2361912370" sldId="438"/>
        </pc:sldMkLst>
      </pc:sldChg>
      <pc:sldChg chg="addSp delSp modSp add">
        <pc:chgData name="Christopher Schulz" userId="c7a37fbc-fc18-47fa-bc4e-1f96df76f530" providerId="ADAL" clId="{EAE2171F-DF41-604A-B96D-11A863CBD639}" dt="2020-01-07T09:04:13.883" v="2098" actId="1076"/>
        <pc:sldMkLst>
          <pc:docMk/>
          <pc:sldMk cId="3192340078" sldId="439"/>
        </pc:sldMkLst>
        <pc:spChg chg="mod">
          <ac:chgData name="Christopher Schulz" userId="c7a37fbc-fc18-47fa-bc4e-1f96df76f530" providerId="ADAL" clId="{EAE2171F-DF41-604A-B96D-11A863CBD639}" dt="2020-01-05T15:31:58.278" v="1955" actId="790"/>
          <ac:spMkLst>
            <pc:docMk/>
            <pc:sldMk cId="3192340078" sldId="439"/>
            <ac:spMk id="2" creationId="{D68C5A50-1913-4507-988E-B3319E45906C}"/>
          </ac:spMkLst>
        </pc:spChg>
        <pc:spChg chg="add mod">
          <ac:chgData name="Christopher Schulz" userId="c7a37fbc-fc18-47fa-bc4e-1f96df76f530" providerId="ADAL" clId="{EAE2171F-DF41-604A-B96D-11A863CBD639}" dt="2020-01-05T15:22:47.045" v="1879" actId="20577"/>
          <ac:spMkLst>
            <pc:docMk/>
            <pc:sldMk cId="3192340078" sldId="439"/>
            <ac:spMk id="9" creationId="{C7C2FB34-6C59-D543-93B5-A276AC1371F8}"/>
          </ac:spMkLst>
        </pc:spChg>
        <pc:graphicFrameChg chg="del">
          <ac:chgData name="Christopher Schulz" userId="c7a37fbc-fc18-47fa-bc4e-1f96df76f530" providerId="ADAL" clId="{EAE2171F-DF41-604A-B96D-11A863CBD639}" dt="2020-01-05T14:46:22.494" v="1229" actId="478"/>
          <ac:graphicFrameMkLst>
            <pc:docMk/>
            <pc:sldMk cId="3192340078" sldId="439"/>
            <ac:graphicFrameMk id="6" creationId="{78112048-7899-1C44-B8EC-A001E6C13E15}"/>
          </ac:graphicFrameMkLst>
        </pc:graphicFrameChg>
        <pc:graphicFrameChg chg="del mod">
          <ac:chgData name="Christopher Schulz" userId="c7a37fbc-fc18-47fa-bc4e-1f96df76f530" providerId="ADAL" clId="{EAE2171F-DF41-604A-B96D-11A863CBD639}" dt="2020-01-05T14:46:56.135" v="1233" actId="478"/>
          <ac:graphicFrameMkLst>
            <pc:docMk/>
            <pc:sldMk cId="3192340078" sldId="439"/>
            <ac:graphicFrameMk id="7" creationId="{CAD18F1B-98FB-EB44-B6EA-BE897FC3E456}"/>
          </ac:graphicFrameMkLst>
        </pc:graphicFrameChg>
        <pc:graphicFrameChg chg="add mod modGraphic">
          <ac:chgData name="Christopher Schulz" userId="c7a37fbc-fc18-47fa-bc4e-1f96df76f530" providerId="ADAL" clId="{EAE2171F-DF41-604A-B96D-11A863CBD639}" dt="2020-01-05T15:31:37.536" v="1952" actId="20577"/>
          <ac:graphicFrameMkLst>
            <pc:docMk/>
            <pc:sldMk cId="3192340078" sldId="439"/>
            <ac:graphicFrameMk id="8" creationId="{95B8BFB7-7E88-F945-9617-BC5AF251328A}"/>
          </ac:graphicFrameMkLst>
        </pc:graphicFrameChg>
        <pc:picChg chg="add del mod">
          <ac:chgData name="Christopher Schulz" userId="c7a37fbc-fc18-47fa-bc4e-1f96df76f530" providerId="ADAL" clId="{EAE2171F-DF41-604A-B96D-11A863CBD639}" dt="2020-01-05T14:53:06.517" v="1467" actId="478"/>
          <ac:picMkLst>
            <pc:docMk/>
            <pc:sldMk cId="3192340078" sldId="439"/>
            <ac:picMk id="4" creationId="{316ADC22-3A4F-DD4E-A52A-44F5D48F8D63}"/>
          </ac:picMkLst>
        </pc:picChg>
        <pc:picChg chg="add mod modCrop">
          <ac:chgData name="Christopher Schulz" userId="c7a37fbc-fc18-47fa-bc4e-1f96df76f530" providerId="ADAL" clId="{EAE2171F-DF41-604A-B96D-11A863CBD639}" dt="2020-01-05T14:53:51.956" v="1476" actId="1076"/>
          <ac:picMkLst>
            <pc:docMk/>
            <pc:sldMk cId="3192340078" sldId="439"/>
            <ac:picMk id="5" creationId="{A2FD4524-F78C-CD43-8BD6-C42A11BA0315}"/>
          </ac:picMkLst>
        </pc:picChg>
        <pc:picChg chg="add mod">
          <ac:chgData name="Christopher Schulz" userId="c7a37fbc-fc18-47fa-bc4e-1f96df76f530" providerId="ADAL" clId="{EAE2171F-DF41-604A-B96D-11A863CBD639}" dt="2020-01-07T09:04:13.883" v="2098" actId="1076"/>
          <ac:picMkLst>
            <pc:docMk/>
            <pc:sldMk cId="3192340078" sldId="439"/>
            <ac:picMk id="11" creationId="{96242761-BBA8-D24E-AF90-7EC3FBE03D21}"/>
          </ac:picMkLst>
        </pc:picChg>
      </pc:sldChg>
      <pc:sldChg chg="addSp delSp modSp add">
        <pc:chgData name="Christopher Schulz" userId="c7a37fbc-fc18-47fa-bc4e-1f96df76f530" providerId="ADAL" clId="{EAE2171F-DF41-604A-B96D-11A863CBD639}" dt="2020-01-05T15:30:52.962" v="1934" actId="790"/>
        <pc:sldMkLst>
          <pc:docMk/>
          <pc:sldMk cId="3209056058" sldId="440"/>
        </pc:sldMkLst>
        <pc:spChg chg="del">
          <ac:chgData name="Christopher Schulz" userId="c7a37fbc-fc18-47fa-bc4e-1f96df76f530" providerId="ADAL" clId="{EAE2171F-DF41-604A-B96D-11A863CBD639}" dt="2020-01-05T15:23:32.623" v="1882" actId="478"/>
          <ac:spMkLst>
            <pc:docMk/>
            <pc:sldMk cId="3209056058" sldId="440"/>
            <ac:spMk id="2" creationId="{EB45F231-E487-4271-9057-B362EF649847}"/>
          </ac:spMkLst>
        </pc:spChg>
        <pc:spChg chg="del">
          <ac:chgData name="Christopher Schulz" userId="c7a37fbc-fc18-47fa-bc4e-1f96df76f530" providerId="ADAL" clId="{EAE2171F-DF41-604A-B96D-11A863CBD639}" dt="2020-01-05T15:27:00.860" v="1914" actId="478"/>
          <ac:spMkLst>
            <pc:docMk/>
            <pc:sldMk cId="3209056058" sldId="440"/>
            <ac:spMk id="6" creationId="{E6BCA6DC-87A3-45A3-8418-850F5E83F93D}"/>
          </ac:spMkLst>
        </pc:spChg>
        <pc:spChg chg="add del mod">
          <ac:chgData name="Christopher Schulz" userId="c7a37fbc-fc18-47fa-bc4e-1f96df76f530" providerId="ADAL" clId="{EAE2171F-DF41-604A-B96D-11A863CBD639}" dt="2020-01-05T15:26:31.444" v="1905"/>
          <ac:spMkLst>
            <pc:docMk/>
            <pc:sldMk cId="3209056058" sldId="440"/>
            <ac:spMk id="9" creationId="{008C0B07-2AE8-5A48-8129-24DEAA701F74}"/>
          </ac:spMkLst>
        </pc:spChg>
        <pc:spChg chg="add del mod">
          <ac:chgData name="Christopher Schulz" userId="c7a37fbc-fc18-47fa-bc4e-1f96df76f530" providerId="ADAL" clId="{EAE2171F-DF41-604A-B96D-11A863CBD639}" dt="2020-01-05T15:26:31.444" v="1905"/>
          <ac:spMkLst>
            <pc:docMk/>
            <pc:sldMk cId="3209056058" sldId="440"/>
            <ac:spMk id="10" creationId="{5B0CEB5D-A03D-F04F-A69D-52C9D2532B0E}"/>
          </ac:spMkLst>
        </pc:spChg>
        <pc:spChg chg="add del mod">
          <ac:chgData name="Christopher Schulz" userId="c7a37fbc-fc18-47fa-bc4e-1f96df76f530" providerId="ADAL" clId="{EAE2171F-DF41-604A-B96D-11A863CBD639}" dt="2020-01-05T15:26:31.444" v="1905"/>
          <ac:spMkLst>
            <pc:docMk/>
            <pc:sldMk cId="3209056058" sldId="440"/>
            <ac:spMk id="11" creationId="{7B314655-470A-B040-8212-17D52103718D}"/>
          </ac:spMkLst>
        </pc:spChg>
        <pc:spChg chg="add del">
          <ac:chgData name="Christopher Schulz" userId="c7a37fbc-fc18-47fa-bc4e-1f96df76f530" providerId="ADAL" clId="{EAE2171F-DF41-604A-B96D-11A863CBD639}" dt="2020-01-05T15:30:08.031" v="1932" actId="478"/>
          <ac:spMkLst>
            <pc:docMk/>
            <pc:sldMk cId="3209056058" sldId="440"/>
            <ac:spMk id="12" creationId="{32EF9AB9-F3CC-6340-AFA5-FD80FF545825}"/>
          </ac:spMkLst>
        </pc:spChg>
        <pc:spChg chg="add mod">
          <ac:chgData name="Christopher Schulz" userId="c7a37fbc-fc18-47fa-bc4e-1f96df76f530" providerId="ADAL" clId="{EAE2171F-DF41-604A-B96D-11A863CBD639}" dt="2020-01-05T15:29:31.542" v="1929" actId="207"/>
          <ac:spMkLst>
            <pc:docMk/>
            <pc:sldMk cId="3209056058" sldId="440"/>
            <ac:spMk id="13" creationId="{A7BE49FE-EFD3-864D-8CE2-75132BE98557}"/>
          </ac:spMkLst>
        </pc:spChg>
        <pc:spChg chg="add del mod">
          <ac:chgData name="Christopher Schulz" userId="c7a37fbc-fc18-47fa-bc4e-1f96df76f530" providerId="ADAL" clId="{EAE2171F-DF41-604A-B96D-11A863CBD639}" dt="2020-01-05T15:29:21.236" v="1928" actId="478"/>
          <ac:spMkLst>
            <pc:docMk/>
            <pc:sldMk cId="3209056058" sldId="440"/>
            <ac:spMk id="14" creationId="{3A016E2D-7A20-464F-B697-8891ADD0849C}"/>
          </ac:spMkLst>
        </pc:spChg>
        <pc:spChg chg="add mod">
          <ac:chgData name="Christopher Schulz" userId="c7a37fbc-fc18-47fa-bc4e-1f96df76f530" providerId="ADAL" clId="{EAE2171F-DF41-604A-B96D-11A863CBD639}" dt="2020-01-05T15:30:52.962" v="1934" actId="790"/>
          <ac:spMkLst>
            <pc:docMk/>
            <pc:sldMk cId="3209056058" sldId="440"/>
            <ac:spMk id="16" creationId="{B6283CED-F12B-D640-B69C-31DCB8F74681}"/>
          </ac:spMkLst>
        </pc:spChg>
        <pc:picChg chg="del">
          <ac:chgData name="Christopher Schulz" userId="c7a37fbc-fc18-47fa-bc4e-1f96df76f530" providerId="ADAL" clId="{EAE2171F-DF41-604A-B96D-11A863CBD639}" dt="2020-01-05T15:23:33.579" v="1883" actId="478"/>
          <ac:picMkLst>
            <pc:docMk/>
            <pc:sldMk cId="3209056058" sldId="440"/>
            <ac:picMk id="3" creationId="{C1084879-260D-453B-8097-6930EC92BC9B}"/>
          </ac:picMkLst>
        </pc:picChg>
        <pc:picChg chg="add mod modCrop">
          <ac:chgData name="Christopher Schulz" userId="c7a37fbc-fc18-47fa-bc4e-1f96df76f530" providerId="ADAL" clId="{EAE2171F-DF41-604A-B96D-11A863CBD639}" dt="2020-01-05T15:27:34.360" v="1919" actId="732"/>
          <ac:picMkLst>
            <pc:docMk/>
            <pc:sldMk cId="3209056058" sldId="440"/>
            <ac:picMk id="4" creationId="{69A7AD35-8B5F-AC4E-B90B-C98B7400A837}"/>
          </ac:picMkLst>
        </pc:picChg>
        <pc:picChg chg="del">
          <ac:chgData name="Christopher Schulz" userId="c7a37fbc-fc18-47fa-bc4e-1f96df76f530" providerId="ADAL" clId="{EAE2171F-DF41-604A-B96D-11A863CBD639}" dt="2020-01-05T15:27:00.860" v="1914" actId="478"/>
          <ac:picMkLst>
            <pc:docMk/>
            <pc:sldMk cId="3209056058" sldId="440"/>
            <ac:picMk id="7" creationId="{3CAB693A-9ABC-4703-B015-2ECBC6CC2C87}"/>
          </ac:picMkLst>
        </pc:picChg>
        <pc:picChg chg="add mod">
          <ac:chgData name="Christopher Schulz" userId="c7a37fbc-fc18-47fa-bc4e-1f96df76f530" providerId="ADAL" clId="{EAE2171F-DF41-604A-B96D-11A863CBD639}" dt="2020-01-05T15:28:05.558" v="1924" actId="1076"/>
          <ac:picMkLst>
            <pc:docMk/>
            <pc:sldMk cId="3209056058" sldId="440"/>
            <ac:picMk id="15" creationId="{10EEA0E8-2442-4648-BD4C-4664942A584F}"/>
          </ac:picMkLst>
        </pc:picChg>
      </pc:sldChg>
    </pc:docChg>
  </pc:docChgLst>
  <pc:docChgLst>
    <pc:chgData name="Christopher Schulz" userId="c7a37fbc-fc18-47fa-bc4e-1f96df76f530" providerId="ADAL" clId="{D7F914C0-A41A-D140-BD42-2AE8ADED66B5}"/>
    <pc:docChg chg="undo custSel addSld delSld modSld delMainMaster">
      <pc:chgData name="Christopher Schulz" userId="c7a37fbc-fc18-47fa-bc4e-1f96df76f530" providerId="ADAL" clId="{D7F914C0-A41A-D140-BD42-2AE8ADED66B5}" dt="2020-02-18T06:01:24.551" v="1019" actId="478"/>
      <pc:docMkLst>
        <pc:docMk/>
      </pc:docMkLst>
      <pc:sldChg chg="addSp delSp modSp">
        <pc:chgData name="Christopher Schulz" userId="c7a37fbc-fc18-47fa-bc4e-1f96df76f530" providerId="ADAL" clId="{D7F914C0-A41A-D140-BD42-2AE8ADED66B5}" dt="2020-02-18T06:01:13.395" v="1018" actId="1076"/>
        <pc:sldMkLst>
          <pc:docMk/>
          <pc:sldMk cId="3168066364" sldId="256"/>
        </pc:sldMkLst>
        <pc:spChg chg="mod">
          <ac:chgData name="Christopher Schulz" userId="c7a37fbc-fc18-47fa-bc4e-1f96df76f530" providerId="ADAL" clId="{D7F914C0-A41A-D140-BD42-2AE8ADED66B5}" dt="2020-02-17T20:57:33.362" v="756" actId="20577"/>
          <ac:spMkLst>
            <pc:docMk/>
            <pc:sldMk cId="3168066364" sldId="256"/>
            <ac:spMk id="2" creationId="{D68C5A50-1913-4507-988E-B3319E45906C}"/>
          </ac:spMkLst>
        </pc:spChg>
        <pc:spChg chg="mod">
          <ac:chgData name="Christopher Schulz" userId="c7a37fbc-fc18-47fa-bc4e-1f96df76f530" providerId="ADAL" clId="{D7F914C0-A41A-D140-BD42-2AE8ADED66B5}" dt="2020-02-17T21:02:49.338" v="801" actId="20577"/>
          <ac:spMkLst>
            <pc:docMk/>
            <pc:sldMk cId="3168066364" sldId="256"/>
            <ac:spMk id="3" creationId="{5F0B0340-28DE-4C04-BA5A-1EB9C2F0782D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4" creationId="{EBA4A055-C615-2444-9C59-062382808570}"/>
          </ac:spMkLst>
        </pc:spChg>
        <pc:spChg chg="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9" creationId="{2CFC355E-1952-E84D-BA17-53C79032133E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11" creationId="{525ECC90-7F91-6F43-81FF-C86B4F03525F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12" creationId="{7C3701C7-6723-5F40-B891-CB0B03C32712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20" creationId="{3B447BF1-B6C2-4548-909F-A281C6E6FC34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24" creationId="{F469DF17-2AF0-AF40-91B7-08D6816BC626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29" creationId="{D4B14E52-546D-414B-BD8D-55EA712A49EA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0" creationId="{C2C7A234-44C8-8D4B-A6F5-B87FB217A84F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1" creationId="{46BAF8D3-F0FA-FC49-9ABC-763AE2F5D3FF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2" creationId="{103A2EDF-CA30-CB4F-B0AE-A8540522D2BA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3" creationId="{0FEC3EC9-F5FD-5F43-96B0-04FD081BD1EB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4" creationId="{36CEC529-94E9-CE46-AD17-D99120ECD169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5" creationId="{591782B2-A35E-7B49-8B3C-3AC5FF042A45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6" creationId="{3F5CBF22-6A5C-DE4C-BC10-28036F547073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7" creationId="{C994CDDC-904A-BD4B-A18F-AA1207118341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8" creationId="{2EEF43E4-839D-9B4E-81E4-FBA1A7D1E4C5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9" creationId="{DBE731F0-AD69-E44D-8CBE-981C72E29C67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40" creationId="{8BD7E804-9262-C545-BC9C-6026500C65D1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47" creationId="{76579BF3-EB21-144E-8E9F-47C0CD03AF43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48" creationId="{089310DF-EB75-9F4D-8F3E-44D7BECDFF9A}"/>
          </ac:spMkLst>
        </pc:spChg>
        <pc:spChg chg="add del mod">
          <ac:chgData name="Christopher Schulz" userId="c7a37fbc-fc18-47fa-bc4e-1f96df76f530" providerId="ADAL" clId="{D7F914C0-A41A-D140-BD42-2AE8ADED66B5}" dt="2020-02-17T20:51:52.460" v="608" actId="478"/>
          <ac:spMkLst>
            <pc:docMk/>
            <pc:sldMk cId="3168066364" sldId="256"/>
            <ac:spMk id="50" creationId="{E86F862C-D10C-A145-8338-B16862E241CE}"/>
          </ac:spMkLst>
        </pc:spChg>
        <pc:spChg chg="add del mod">
          <ac:chgData name="Christopher Schulz" userId="c7a37fbc-fc18-47fa-bc4e-1f96df76f530" providerId="ADAL" clId="{D7F914C0-A41A-D140-BD42-2AE8ADED66B5}" dt="2020-02-17T20:57:54.575" v="760"/>
          <ac:spMkLst>
            <pc:docMk/>
            <pc:sldMk cId="3168066364" sldId="256"/>
            <ac:spMk id="51" creationId="{26C3267C-4FF1-904A-8D0E-6610B98045CB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52" creationId="{AAD92057-2808-7D45-91CF-78137E99BE07}"/>
          </ac:spMkLst>
        </pc:spChg>
        <pc:spChg chg="add mod">
          <ac:chgData name="Christopher Schulz" userId="c7a37fbc-fc18-47fa-bc4e-1f96df76f530" providerId="ADAL" clId="{D7F914C0-A41A-D140-BD42-2AE8ADED66B5}" dt="2020-02-17T21:03:10.093" v="802" actId="2711"/>
          <ac:spMkLst>
            <pc:docMk/>
            <pc:sldMk cId="3168066364" sldId="256"/>
            <ac:spMk id="53" creationId="{0D333FBC-7AA1-A448-A521-AD576F96D878}"/>
          </ac:spMkLst>
        </pc:spChg>
        <pc:spChg chg="add mod">
          <ac:chgData name="Christopher Schulz" userId="c7a37fbc-fc18-47fa-bc4e-1f96df76f530" providerId="ADAL" clId="{D7F914C0-A41A-D140-BD42-2AE8ADED66B5}" dt="2020-02-17T21:00:06.324" v="776" actId="1076"/>
          <ac:spMkLst>
            <pc:docMk/>
            <pc:sldMk cId="3168066364" sldId="256"/>
            <ac:spMk id="54" creationId="{E53354FD-A7ED-F741-90BC-3497A87A2154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55" creationId="{EB76A127-E6B2-FC40-A1E8-B7F7EB192480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56" creationId="{10D63E0A-4BE3-A147-A2CA-128028B6D9C3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57" creationId="{1B0EE509-73DD-6E49-8828-0A28D8365F73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58" creationId="{7B2020FF-33DE-E045-A93A-75BF2EBDBA32}"/>
          </ac:spMkLst>
        </pc:spChg>
        <pc:spChg chg="add mod">
          <ac:chgData name="Christopher Schulz" userId="c7a37fbc-fc18-47fa-bc4e-1f96df76f530" providerId="ADAL" clId="{D7F914C0-A41A-D140-BD42-2AE8ADED66B5}" dt="2020-02-17T21:03:10.093" v="802" actId="2711"/>
          <ac:spMkLst>
            <pc:docMk/>
            <pc:sldMk cId="3168066364" sldId="256"/>
            <ac:spMk id="59" creationId="{5F08C03D-6BF7-124E-BC37-F5B4330636A9}"/>
          </ac:spMkLst>
        </pc:spChg>
        <pc:spChg chg="add mod">
          <ac:chgData name="Christopher Schulz" userId="c7a37fbc-fc18-47fa-bc4e-1f96df76f530" providerId="ADAL" clId="{D7F914C0-A41A-D140-BD42-2AE8ADED66B5}" dt="2020-02-17T21:00:09.390" v="777" actId="1076"/>
          <ac:spMkLst>
            <pc:docMk/>
            <pc:sldMk cId="3168066364" sldId="256"/>
            <ac:spMk id="60" creationId="{FBEF7467-2272-8C42-A10A-0A45907C2AF1}"/>
          </ac:spMkLst>
        </pc:spChg>
        <pc:spChg chg="add mod">
          <ac:chgData name="Christopher Schulz" userId="c7a37fbc-fc18-47fa-bc4e-1f96df76f530" providerId="ADAL" clId="{D7F914C0-A41A-D140-BD42-2AE8ADED66B5}" dt="2020-02-17T21:03:10.093" v="802" actId="2711"/>
          <ac:spMkLst>
            <pc:docMk/>
            <pc:sldMk cId="3168066364" sldId="256"/>
            <ac:spMk id="61" creationId="{71C73527-1EEC-9C4B-9089-00F8C16AD414}"/>
          </ac:spMkLst>
        </pc:spChg>
        <pc:spChg chg="add mod">
          <ac:chgData name="Christopher Schulz" userId="c7a37fbc-fc18-47fa-bc4e-1f96df76f530" providerId="ADAL" clId="{D7F914C0-A41A-D140-BD42-2AE8ADED66B5}" dt="2020-02-17T21:00:14.210" v="778" actId="1076"/>
          <ac:spMkLst>
            <pc:docMk/>
            <pc:sldMk cId="3168066364" sldId="256"/>
            <ac:spMk id="62" creationId="{957A65AE-4A05-7945-BE35-6ACB3C3617CB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63" creationId="{0F54640C-E12E-D44F-BE3B-B5C1D3A3F457}"/>
          </ac:spMkLst>
        </pc:spChg>
        <pc:spChg chg="add mod">
          <ac:chgData name="Christopher Schulz" userId="c7a37fbc-fc18-47fa-bc4e-1f96df76f530" providerId="ADAL" clId="{D7F914C0-A41A-D140-BD42-2AE8ADED66B5}" dt="2020-02-17T21:03:10.093" v="802" actId="2711"/>
          <ac:spMkLst>
            <pc:docMk/>
            <pc:sldMk cId="3168066364" sldId="256"/>
            <ac:spMk id="64" creationId="{81A20781-8663-2F41-A497-C4D57F4DE5E5}"/>
          </ac:spMkLst>
        </pc:spChg>
        <pc:spChg chg="add mod">
          <ac:chgData name="Christopher Schulz" userId="c7a37fbc-fc18-47fa-bc4e-1f96df76f530" providerId="ADAL" clId="{D7F914C0-A41A-D140-BD42-2AE8ADED66B5}" dt="2020-02-17T21:00:20.764" v="779" actId="1076"/>
          <ac:spMkLst>
            <pc:docMk/>
            <pc:sldMk cId="3168066364" sldId="256"/>
            <ac:spMk id="65" creationId="{BFC1D988-8A91-DE49-B58D-593EE053184F}"/>
          </ac:spMkLst>
        </pc:spChg>
        <pc:spChg chg="add mod">
          <ac:chgData name="Christopher Schulz" userId="c7a37fbc-fc18-47fa-bc4e-1f96df76f530" providerId="ADAL" clId="{D7F914C0-A41A-D140-BD42-2AE8ADED66B5}" dt="2020-02-17T21:03:10.093" v="802" actId="2711"/>
          <ac:spMkLst>
            <pc:docMk/>
            <pc:sldMk cId="3168066364" sldId="256"/>
            <ac:spMk id="66" creationId="{C9F832F3-19D4-E046-9A4C-00866193A3E1}"/>
          </ac:spMkLst>
        </pc:spChg>
        <pc:spChg chg="add mod">
          <ac:chgData name="Christopher Schulz" userId="c7a37fbc-fc18-47fa-bc4e-1f96df76f530" providerId="ADAL" clId="{D7F914C0-A41A-D140-BD42-2AE8ADED66B5}" dt="2020-02-17T21:00:23.777" v="780" actId="1076"/>
          <ac:spMkLst>
            <pc:docMk/>
            <pc:sldMk cId="3168066364" sldId="256"/>
            <ac:spMk id="68" creationId="{B4587D13-8F0D-2640-A4F5-B5F2BB27D966}"/>
          </ac:spMkLst>
        </pc:spChg>
        <pc:spChg chg="add mod">
          <ac:chgData name="Christopher Schulz" userId="c7a37fbc-fc18-47fa-bc4e-1f96df76f530" providerId="ADAL" clId="{D7F914C0-A41A-D140-BD42-2AE8ADED66B5}" dt="2020-02-17T21:03:10.093" v="802" actId="2711"/>
          <ac:spMkLst>
            <pc:docMk/>
            <pc:sldMk cId="3168066364" sldId="256"/>
            <ac:spMk id="77" creationId="{689346B4-56EE-484D-98C1-4C85C5FB7AC9}"/>
          </ac:spMkLst>
        </pc:spChg>
        <pc:spChg chg="add mod">
          <ac:chgData name="Christopher Schulz" userId="c7a37fbc-fc18-47fa-bc4e-1f96df76f530" providerId="ADAL" clId="{D7F914C0-A41A-D140-BD42-2AE8ADED66B5}" dt="2020-02-17T21:00:26.858" v="781" actId="1076"/>
          <ac:spMkLst>
            <pc:docMk/>
            <pc:sldMk cId="3168066364" sldId="256"/>
            <ac:spMk id="78" creationId="{E1A175B2-75F9-7741-9683-4400A733C301}"/>
          </ac:spMkLst>
        </pc:spChg>
        <pc:picChg chg="add mod">
          <ac:chgData name="Christopher Schulz" userId="c7a37fbc-fc18-47fa-bc4e-1f96df76f530" providerId="ADAL" clId="{D7F914C0-A41A-D140-BD42-2AE8ADED66B5}" dt="2020-02-17T20:59:52.143" v="774" actId="465"/>
          <ac:picMkLst>
            <pc:docMk/>
            <pc:sldMk cId="3168066364" sldId="256"/>
            <ac:picMk id="6" creationId="{DB42ED7E-A908-CB41-B41D-BE1B48EB1B39}"/>
          </ac:picMkLst>
        </pc:picChg>
        <pc:picChg chg="add mod">
          <ac:chgData name="Christopher Schulz" userId="c7a37fbc-fc18-47fa-bc4e-1f96df76f530" providerId="ADAL" clId="{D7F914C0-A41A-D140-BD42-2AE8ADED66B5}" dt="2020-02-17T20:59:52.143" v="774" actId="465"/>
          <ac:picMkLst>
            <pc:docMk/>
            <pc:sldMk cId="3168066364" sldId="256"/>
            <ac:picMk id="8" creationId="{62B796B7-1932-9D4A-BA6B-823B6ED2E551}"/>
          </ac:picMkLst>
        </pc:picChg>
        <pc:picChg chg="add del mod">
          <ac:chgData name="Christopher Schulz" userId="c7a37fbc-fc18-47fa-bc4e-1f96df76f530" providerId="ADAL" clId="{D7F914C0-A41A-D140-BD42-2AE8ADED66B5}" dt="2020-02-17T21:10:13.922" v="992" actId="478"/>
          <ac:picMkLst>
            <pc:docMk/>
            <pc:sldMk cId="3168066364" sldId="256"/>
            <ac:picMk id="14" creationId="{B6B600DD-82C1-1A45-A1B1-94AD953E06DC}"/>
          </ac:picMkLst>
        </pc:picChg>
        <pc:picChg chg="add mod">
          <ac:chgData name="Christopher Schulz" userId="c7a37fbc-fc18-47fa-bc4e-1f96df76f530" providerId="ADAL" clId="{D7F914C0-A41A-D140-BD42-2AE8ADED66B5}" dt="2020-02-17T20:59:52.143" v="774" actId="465"/>
          <ac:picMkLst>
            <pc:docMk/>
            <pc:sldMk cId="3168066364" sldId="256"/>
            <ac:picMk id="17" creationId="{AD2E7C2A-19EB-0344-8D3D-365177FAFA98}"/>
          </ac:picMkLst>
        </pc:picChg>
        <pc:picChg chg="add mod">
          <ac:chgData name="Christopher Schulz" userId="c7a37fbc-fc18-47fa-bc4e-1f96df76f530" providerId="ADAL" clId="{D7F914C0-A41A-D140-BD42-2AE8ADED66B5}" dt="2020-02-17T20:59:52.143" v="774" actId="465"/>
          <ac:picMkLst>
            <pc:docMk/>
            <pc:sldMk cId="3168066364" sldId="256"/>
            <ac:picMk id="21" creationId="{81672601-4504-D344-A431-DFCF7E932F30}"/>
          </ac:picMkLst>
        </pc:picChg>
        <pc:picChg chg="add mod">
          <ac:chgData name="Christopher Schulz" userId="c7a37fbc-fc18-47fa-bc4e-1f96df76f530" providerId="ADAL" clId="{D7F914C0-A41A-D140-BD42-2AE8ADED66B5}" dt="2020-02-17T20:59:52.143" v="774" actId="465"/>
          <ac:picMkLst>
            <pc:docMk/>
            <pc:sldMk cId="3168066364" sldId="256"/>
            <ac:picMk id="23" creationId="{263C916C-4583-FC41-BB14-3AAC0056EC22}"/>
          </ac:picMkLst>
        </pc:picChg>
        <pc:picChg chg="add del">
          <ac:chgData name="Christopher Schulz" userId="c7a37fbc-fc18-47fa-bc4e-1f96df76f530" providerId="ADAL" clId="{D7F914C0-A41A-D140-BD42-2AE8ADED66B5}" dt="2020-02-17T20:47:47.981" v="516"/>
          <ac:picMkLst>
            <pc:docMk/>
            <pc:sldMk cId="3168066364" sldId="256"/>
            <ac:picMk id="41" creationId="{D8BB86BD-4DAA-954A-ABD1-44042AE6D516}"/>
          </ac:picMkLst>
        </pc:picChg>
        <pc:picChg chg="add del">
          <ac:chgData name="Christopher Schulz" userId="c7a37fbc-fc18-47fa-bc4e-1f96df76f530" providerId="ADAL" clId="{D7F914C0-A41A-D140-BD42-2AE8ADED66B5}" dt="2020-02-17T20:47:47.981" v="516"/>
          <ac:picMkLst>
            <pc:docMk/>
            <pc:sldMk cId="3168066364" sldId="256"/>
            <ac:picMk id="42" creationId="{AB13D690-A0CA-524A-863D-081C47489608}"/>
          </ac:picMkLst>
        </pc:picChg>
        <pc:picChg chg="add del">
          <ac:chgData name="Christopher Schulz" userId="c7a37fbc-fc18-47fa-bc4e-1f96df76f530" providerId="ADAL" clId="{D7F914C0-A41A-D140-BD42-2AE8ADED66B5}" dt="2020-02-17T20:47:47.981" v="516"/>
          <ac:picMkLst>
            <pc:docMk/>
            <pc:sldMk cId="3168066364" sldId="256"/>
            <ac:picMk id="44" creationId="{6C41B575-11B3-3B42-9F93-0ED722F65987}"/>
          </ac:picMkLst>
        </pc:picChg>
        <pc:picChg chg="add del">
          <ac:chgData name="Christopher Schulz" userId="c7a37fbc-fc18-47fa-bc4e-1f96df76f530" providerId="ADAL" clId="{D7F914C0-A41A-D140-BD42-2AE8ADED66B5}" dt="2020-02-17T20:47:47.981" v="516"/>
          <ac:picMkLst>
            <pc:docMk/>
            <pc:sldMk cId="3168066364" sldId="256"/>
            <ac:picMk id="46" creationId="{6E415BC6-D256-4941-8514-AA9ED4DA9082}"/>
          </ac:picMkLst>
        </pc:picChg>
        <pc:picChg chg="add del">
          <ac:chgData name="Christopher Schulz" userId="c7a37fbc-fc18-47fa-bc4e-1f96df76f530" providerId="ADAL" clId="{D7F914C0-A41A-D140-BD42-2AE8ADED66B5}" dt="2020-02-17T20:47:47.981" v="516"/>
          <ac:picMkLst>
            <pc:docMk/>
            <pc:sldMk cId="3168066364" sldId="256"/>
            <ac:picMk id="49" creationId="{EB21D3A6-A2D8-064B-BD4C-9B1F64D84980}"/>
          </ac:picMkLst>
        </pc:picChg>
        <pc:picChg chg="add del">
          <ac:chgData name="Christopher Schulz" userId="c7a37fbc-fc18-47fa-bc4e-1f96df76f530" providerId="ADAL" clId="{D7F914C0-A41A-D140-BD42-2AE8ADED66B5}" dt="2020-02-17T20:47:05.934" v="514" actId="478"/>
          <ac:picMkLst>
            <pc:docMk/>
            <pc:sldMk cId="3168066364" sldId="256"/>
            <ac:picMk id="67" creationId="{21F0E87E-9B89-C342-AD8D-A812BF83D754}"/>
          </ac:picMkLst>
        </pc:picChg>
        <pc:picChg chg="add del">
          <ac:chgData name="Christopher Schulz" userId="c7a37fbc-fc18-47fa-bc4e-1f96df76f530" providerId="ADAL" clId="{D7F914C0-A41A-D140-BD42-2AE8ADED66B5}" dt="2020-02-17T20:47:05.934" v="514" actId="478"/>
          <ac:picMkLst>
            <pc:docMk/>
            <pc:sldMk cId="3168066364" sldId="256"/>
            <ac:picMk id="69" creationId="{49CD0D3F-AB96-8246-8408-5FAFF9B497B7}"/>
          </ac:picMkLst>
        </pc:picChg>
        <pc:picChg chg="add mod">
          <ac:chgData name="Christopher Schulz" userId="c7a37fbc-fc18-47fa-bc4e-1f96df76f530" providerId="ADAL" clId="{D7F914C0-A41A-D140-BD42-2AE8ADED66B5}" dt="2020-02-17T21:00:52.278" v="782" actId="1076"/>
          <ac:picMkLst>
            <pc:docMk/>
            <pc:sldMk cId="3168066364" sldId="256"/>
            <ac:picMk id="70" creationId="{1A05F362-4D05-8F4E-992C-75B98B6A5DA5}"/>
          </ac:picMkLst>
        </pc:picChg>
        <pc:picChg chg="add mod">
          <ac:chgData name="Christopher Schulz" userId="c7a37fbc-fc18-47fa-bc4e-1f96df76f530" providerId="ADAL" clId="{D7F914C0-A41A-D140-BD42-2AE8ADED66B5}" dt="2020-02-17T21:02:44.592" v="794" actId="1076"/>
          <ac:picMkLst>
            <pc:docMk/>
            <pc:sldMk cId="3168066364" sldId="256"/>
            <ac:picMk id="71" creationId="{983402E8-A46E-8B47-A133-C823413EC54F}"/>
          </ac:picMkLst>
        </pc:picChg>
        <pc:picChg chg="add mod">
          <ac:chgData name="Christopher Schulz" userId="c7a37fbc-fc18-47fa-bc4e-1f96df76f530" providerId="ADAL" clId="{D7F914C0-A41A-D140-BD42-2AE8ADED66B5}" dt="2020-02-17T21:02:38.615" v="793" actId="1076"/>
          <ac:picMkLst>
            <pc:docMk/>
            <pc:sldMk cId="3168066364" sldId="256"/>
            <ac:picMk id="72" creationId="{02C0DB24-6FD0-B746-8A62-E01986EADAB6}"/>
          </ac:picMkLst>
        </pc:picChg>
        <pc:picChg chg="add del">
          <ac:chgData name="Christopher Schulz" userId="c7a37fbc-fc18-47fa-bc4e-1f96df76f530" providerId="ADAL" clId="{D7F914C0-A41A-D140-BD42-2AE8ADED66B5}" dt="2020-02-17T20:47:05.934" v="514" actId="478"/>
          <ac:picMkLst>
            <pc:docMk/>
            <pc:sldMk cId="3168066364" sldId="256"/>
            <ac:picMk id="73" creationId="{8F1F2886-5F91-A849-92C8-398E3F7B5350}"/>
          </ac:picMkLst>
        </pc:picChg>
        <pc:picChg chg="add mod">
          <ac:chgData name="Christopher Schulz" userId="c7a37fbc-fc18-47fa-bc4e-1f96df76f530" providerId="ADAL" clId="{D7F914C0-A41A-D140-BD42-2AE8ADED66B5}" dt="2020-02-17T21:02:31.608" v="792" actId="1076"/>
          <ac:picMkLst>
            <pc:docMk/>
            <pc:sldMk cId="3168066364" sldId="256"/>
            <ac:picMk id="74" creationId="{3121D770-0C42-1544-8A1F-A6227274C75B}"/>
          </ac:picMkLst>
        </pc:picChg>
        <pc:picChg chg="add del">
          <ac:chgData name="Christopher Schulz" userId="c7a37fbc-fc18-47fa-bc4e-1f96df76f530" providerId="ADAL" clId="{D7F914C0-A41A-D140-BD42-2AE8ADED66B5}" dt="2020-02-17T20:47:05.934" v="514" actId="478"/>
          <ac:picMkLst>
            <pc:docMk/>
            <pc:sldMk cId="3168066364" sldId="256"/>
            <ac:picMk id="75" creationId="{61A481AC-2C84-634E-889D-B57122DAE414}"/>
          </ac:picMkLst>
        </pc:picChg>
        <pc:picChg chg="add mod">
          <ac:chgData name="Christopher Schulz" userId="c7a37fbc-fc18-47fa-bc4e-1f96df76f530" providerId="ADAL" clId="{D7F914C0-A41A-D140-BD42-2AE8ADED66B5}" dt="2020-02-17T21:02:25.470" v="791" actId="1076"/>
          <ac:picMkLst>
            <pc:docMk/>
            <pc:sldMk cId="3168066364" sldId="256"/>
            <ac:picMk id="76" creationId="{15E66E4D-FAB3-5742-8D12-8CEB6CD159F8}"/>
          </ac:picMkLst>
        </pc:picChg>
        <pc:picChg chg="add mod">
          <ac:chgData name="Christopher Schulz" userId="c7a37fbc-fc18-47fa-bc4e-1f96df76f530" providerId="ADAL" clId="{D7F914C0-A41A-D140-BD42-2AE8ADED66B5}" dt="2020-02-17T21:02:16.216" v="790" actId="1076"/>
          <ac:picMkLst>
            <pc:docMk/>
            <pc:sldMk cId="3168066364" sldId="256"/>
            <ac:picMk id="79" creationId="{C5E1EDAC-30BB-1243-A314-4B48F0A3E523}"/>
          </ac:picMkLst>
        </pc:picChg>
        <pc:picChg chg="add mod">
          <ac:chgData name="Christopher Schulz" userId="c7a37fbc-fc18-47fa-bc4e-1f96df76f530" providerId="ADAL" clId="{D7F914C0-A41A-D140-BD42-2AE8ADED66B5}" dt="2020-02-18T06:01:13.395" v="1018" actId="1076"/>
          <ac:picMkLst>
            <pc:docMk/>
            <pc:sldMk cId="3168066364" sldId="256"/>
            <ac:picMk id="80" creationId="{B9C0E521-060B-7147-ACA8-A5C61AC1DF06}"/>
          </ac:picMkLst>
        </pc:picChg>
        <pc:cxnChg chg="add del mod">
          <ac:chgData name="Christopher Schulz" userId="c7a37fbc-fc18-47fa-bc4e-1f96df76f530" providerId="ADAL" clId="{D7F914C0-A41A-D140-BD42-2AE8ADED66B5}" dt="2020-02-17T20:47:05.934" v="514" actId="478"/>
          <ac:cxnSpMkLst>
            <pc:docMk/>
            <pc:sldMk cId="3168066364" sldId="256"/>
            <ac:cxnSpMk id="13" creationId="{276038E9-BA9E-2744-B068-8E99E3FDAD2E}"/>
          </ac:cxnSpMkLst>
        </pc:cxnChg>
        <pc:cxnChg chg="add del mod">
          <ac:chgData name="Christopher Schulz" userId="c7a37fbc-fc18-47fa-bc4e-1f96df76f530" providerId="ADAL" clId="{D7F914C0-A41A-D140-BD42-2AE8ADED66B5}" dt="2020-02-17T20:47:05.934" v="514" actId="478"/>
          <ac:cxnSpMkLst>
            <pc:docMk/>
            <pc:sldMk cId="3168066364" sldId="256"/>
            <ac:cxnSpMk id="15" creationId="{D0E8B1AC-D997-CA4A-88CB-E2A2065DBD22}"/>
          </ac:cxnSpMkLst>
        </pc:cxnChg>
        <pc:cxnChg chg="add del mod">
          <ac:chgData name="Christopher Schulz" userId="c7a37fbc-fc18-47fa-bc4e-1f96df76f530" providerId="ADAL" clId="{D7F914C0-A41A-D140-BD42-2AE8ADED66B5}" dt="2020-02-17T20:47:05.934" v="514" actId="478"/>
          <ac:cxnSpMkLst>
            <pc:docMk/>
            <pc:sldMk cId="3168066364" sldId="256"/>
            <ac:cxnSpMk id="19" creationId="{1A447975-C2F0-7A43-BCA5-6679E37A6083}"/>
          </ac:cxnSpMkLst>
        </pc:cxnChg>
        <pc:cxnChg chg="add del mod">
          <ac:chgData name="Christopher Schulz" userId="c7a37fbc-fc18-47fa-bc4e-1f96df76f530" providerId="ADAL" clId="{D7F914C0-A41A-D140-BD42-2AE8ADED66B5}" dt="2020-02-17T20:47:05.934" v="514" actId="478"/>
          <ac:cxnSpMkLst>
            <pc:docMk/>
            <pc:sldMk cId="3168066364" sldId="256"/>
            <ac:cxnSpMk id="25" creationId="{D9142291-DC66-4C46-A135-9CC157BF6704}"/>
          </ac:cxnSpMkLst>
        </pc:cxnChg>
        <pc:cxnChg chg="add del mod">
          <ac:chgData name="Christopher Schulz" userId="c7a37fbc-fc18-47fa-bc4e-1f96df76f530" providerId="ADAL" clId="{D7F914C0-A41A-D140-BD42-2AE8ADED66B5}" dt="2020-02-17T20:47:05.934" v="514" actId="478"/>
          <ac:cxnSpMkLst>
            <pc:docMk/>
            <pc:sldMk cId="3168066364" sldId="256"/>
            <ac:cxnSpMk id="28" creationId="{22EA9298-ABC5-574E-8E7F-8313A1C8E1F3}"/>
          </ac:cxnSpMkLst>
        </pc:cxnChg>
        <pc:cxnChg chg="add del mod">
          <ac:chgData name="Christopher Schulz" userId="c7a37fbc-fc18-47fa-bc4e-1f96df76f530" providerId="ADAL" clId="{D7F914C0-A41A-D140-BD42-2AE8ADED66B5}" dt="2020-02-17T20:47:05.934" v="514" actId="478"/>
          <ac:cxnSpMkLst>
            <pc:docMk/>
            <pc:sldMk cId="3168066364" sldId="256"/>
            <ac:cxnSpMk id="43" creationId="{580DF897-3A19-3E49-A1D0-33F6FDC8861C}"/>
          </ac:cxnSpMkLst>
        </pc:cxnChg>
        <pc:cxnChg chg="add del mod">
          <ac:chgData name="Christopher Schulz" userId="c7a37fbc-fc18-47fa-bc4e-1f96df76f530" providerId="ADAL" clId="{D7F914C0-A41A-D140-BD42-2AE8ADED66B5}" dt="2020-02-17T20:47:05.934" v="514" actId="478"/>
          <ac:cxnSpMkLst>
            <pc:docMk/>
            <pc:sldMk cId="3168066364" sldId="256"/>
            <ac:cxnSpMk id="45" creationId="{59AD6A25-97F8-074F-9989-46709164F64A}"/>
          </ac:cxnSpMkLst>
        </pc:cxnChg>
      </pc:sldChg>
      <pc:sldChg chg="add del">
        <pc:chgData name="Christopher Schulz" userId="c7a37fbc-fc18-47fa-bc4e-1f96df76f530" providerId="ADAL" clId="{D7F914C0-A41A-D140-BD42-2AE8ADED66B5}" dt="2020-02-17T20:48:29.920" v="521" actId="2696"/>
        <pc:sldMkLst>
          <pc:docMk/>
          <pc:sldMk cId="27030151" sldId="258"/>
        </pc:sldMkLst>
      </pc:sldChg>
      <pc:sldChg chg="modSp">
        <pc:chgData name="Christopher Schulz" userId="c7a37fbc-fc18-47fa-bc4e-1f96df76f530" providerId="ADAL" clId="{D7F914C0-A41A-D140-BD42-2AE8ADED66B5}" dt="2020-02-17T20:46:53.651" v="511" actId="20577"/>
        <pc:sldMkLst>
          <pc:docMk/>
          <pc:sldMk cId="1472519979" sldId="436"/>
        </pc:sldMkLst>
        <pc:spChg chg="mod">
          <ac:chgData name="Christopher Schulz" userId="c7a37fbc-fc18-47fa-bc4e-1f96df76f530" providerId="ADAL" clId="{D7F914C0-A41A-D140-BD42-2AE8ADED66B5}" dt="2020-02-17T20:46:53.651" v="511" actId="20577"/>
          <ac:spMkLst>
            <pc:docMk/>
            <pc:sldMk cId="1472519979" sldId="436"/>
            <ac:spMk id="10" creationId="{274B8FD3-DE57-F04F-8CE3-DD4FB0B74771}"/>
          </ac:spMkLst>
        </pc:spChg>
      </pc:sldChg>
      <pc:sldChg chg="addSp delSp modSp">
        <pc:chgData name="Christopher Schulz" userId="c7a37fbc-fc18-47fa-bc4e-1f96df76f530" providerId="ADAL" clId="{D7F914C0-A41A-D140-BD42-2AE8ADED66B5}" dt="2020-02-17T21:13:39.554" v="1016" actId="1076"/>
        <pc:sldMkLst>
          <pc:docMk/>
          <pc:sldMk cId="3209056058" sldId="440"/>
        </pc:sldMkLst>
        <pc:spChg chg="mod">
          <ac:chgData name="Christopher Schulz" userId="c7a37fbc-fc18-47fa-bc4e-1f96df76f530" providerId="ADAL" clId="{D7F914C0-A41A-D140-BD42-2AE8ADED66B5}" dt="2020-02-17T21:13:39.554" v="1016" actId="1076"/>
          <ac:spMkLst>
            <pc:docMk/>
            <pc:sldMk cId="3209056058" sldId="440"/>
            <ac:spMk id="12" creationId="{32EF9AB9-F3CC-6340-AFA5-FD80FF545825}"/>
          </ac:spMkLst>
        </pc:spChg>
        <pc:spChg chg="mod">
          <ac:chgData name="Christopher Schulz" userId="c7a37fbc-fc18-47fa-bc4e-1f96df76f530" providerId="ADAL" clId="{D7F914C0-A41A-D140-BD42-2AE8ADED66B5}" dt="2020-02-17T20:43:55.453" v="151" actId="20577"/>
          <ac:spMkLst>
            <pc:docMk/>
            <pc:sldMk cId="3209056058" sldId="440"/>
            <ac:spMk id="16" creationId="{B6283CED-F12B-D640-B69C-31DCB8F74681}"/>
          </ac:spMkLst>
        </pc:spChg>
        <pc:picChg chg="add mod modCrop">
          <ac:chgData name="Christopher Schulz" userId="c7a37fbc-fc18-47fa-bc4e-1f96df76f530" providerId="ADAL" clId="{D7F914C0-A41A-D140-BD42-2AE8ADED66B5}" dt="2020-02-17T21:13:32.474" v="1015" actId="18331"/>
          <ac:picMkLst>
            <pc:docMk/>
            <pc:sldMk cId="3209056058" sldId="440"/>
            <ac:picMk id="3" creationId="{7D8E9132-E61A-DF48-B4E5-5571528ED1DC}"/>
          </ac:picMkLst>
        </pc:picChg>
        <pc:picChg chg="del">
          <ac:chgData name="Christopher Schulz" userId="c7a37fbc-fc18-47fa-bc4e-1f96df76f530" providerId="ADAL" clId="{D7F914C0-A41A-D140-BD42-2AE8ADED66B5}" dt="2020-02-17T20:41:21.407" v="1" actId="478"/>
          <ac:picMkLst>
            <pc:docMk/>
            <pc:sldMk cId="3209056058" sldId="440"/>
            <ac:picMk id="5" creationId="{CB4EEF46-D9DA-C346-B025-B21C8C8541AB}"/>
          </ac:picMkLst>
        </pc:picChg>
      </pc:sldChg>
      <pc:sldChg chg="addSp delSp modSp add">
        <pc:chgData name="Christopher Schulz" userId="c7a37fbc-fc18-47fa-bc4e-1f96df76f530" providerId="ADAL" clId="{D7F914C0-A41A-D140-BD42-2AE8ADED66B5}" dt="2020-02-18T06:01:24.551" v="1019" actId="478"/>
        <pc:sldMkLst>
          <pc:docMk/>
          <pc:sldMk cId="262661586" sldId="441"/>
        </pc:sldMkLst>
        <pc:spChg chg="mod">
          <ac:chgData name="Christopher Schulz" userId="c7a37fbc-fc18-47fa-bc4e-1f96df76f530" providerId="ADAL" clId="{D7F914C0-A41A-D140-BD42-2AE8ADED66B5}" dt="2020-02-17T21:03:18.167" v="807" actId="20577"/>
          <ac:spMkLst>
            <pc:docMk/>
            <pc:sldMk cId="262661586" sldId="441"/>
            <ac:spMk id="2" creationId="{D68C5A50-1913-4507-988E-B3319E45906C}"/>
          </ac:spMkLst>
        </pc:spChg>
        <pc:spChg chg="mod">
          <ac:chgData name="Christopher Schulz" userId="c7a37fbc-fc18-47fa-bc4e-1f96df76f530" providerId="ADAL" clId="{D7F914C0-A41A-D140-BD42-2AE8ADED66B5}" dt="2020-02-17T21:03:20.870" v="811" actId="20577"/>
          <ac:spMkLst>
            <pc:docMk/>
            <pc:sldMk cId="262661586" sldId="441"/>
            <ac:spMk id="3" creationId="{5F0B0340-28DE-4C04-BA5A-1EB9C2F0782D}"/>
          </ac:spMkLst>
        </pc:spChg>
        <pc:spChg chg="mod">
          <ac:chgData name="Christopher Schulz" userId="c7a37fbc-fc18-47fa-bc4e-1f96df76f530" providerId="ADAL" clId="{D7F914C0-A41A-D140-BD42-2AE8ADED66B5}" dt="2020-02-17T21:04:32.345" v="851" actId="115"/>
          <ac:spMkLst>
            <pc:docMk/>
            <pc:sldMk cId="262661586" sldId="441"/>
            <ac:spMk id="54" creationId="{E53354FD-A7ED-F741-90BC-3497A87A2154}"/>
          </ac:spMkLst>
        </pc:spChg>
        <pc:spChg chg="mod">
          <ac:chgData name="Christopher Schulz" userId="c7a37fbc-fc18-47fa-bc4e-1f96df76f530" providerId="ADAL" clId="{D7F914C0-A41A-D140-BD42-2AE8ADED66B5}" dt="2020-02-17T21:04:28.480" v="849" actId="115"/>
          <ac:spMkLst>
            <pc:docMk/>
            <pc:sldMk cId="262661586" sldId="441"/>
            <ac:spMk id="60" creationId="{FBEF7467-2272-8C42-A10A-0A45907C2AF1}"/>
          </ac:spMkLst>
        </pc:spChg>
        <pc:spChg chg="mod">
          <ac:chgData name="Christopher Schulz" userId="c7a37fbc-fc18-47fa-bc4e-1f96df76f530" providerId="ADAL" clId="{D7F914C0-A41A-D140-BD42-2AE8ADED66B5}" dt="2020-02-17T21:04:38.416" v="854" actId="115"/>
          <ac:spMkLst>
            <pc:docMk/>
            <pc:sldMk cId="262661586" sldId="441"/>
            <ac:spMk id="62" creationId="{957A65AE-4A05-7945-BE35-6ACB3C3617CB}"/>
          </ac:spMkLst>
        </pc:spChg>
        <pc:spChg chg="mod">
          <ac:chgData name="Christopher Schulz" userId="c7a37fbc-fc18-47fa-bc4e-1f96df76f530" providerId="ADAL" clId="{D7F914C0-A41A-D140-BD42-2AE8ADED66B5}" dt="2020-02-17T21:05:34.340" v="892" actId="20577"/>
          <ac:spMkLst>
            <pc:docMk/>
            <pc:sldMk cId="262661586" sldId="441"/>
            <ac:spMk id="65" creationId="{BFC1D988-8A91-DE49-B58D-593EE053184F}"/>
          </ac:spMkLst>
        </pc:spChg>
        <pc:spChg chg="mod">
          <ac:chgData name="Christopher Schulz" userId="c7a37fbc-fc18-47fa-bc4e-1f96df76f530" providerId="ADAL" clId="{D7F914C0-A41A-D140-BD42-2AE8ADED66B5}" dt="2020-02-17T21:09:00.818" v="975" actId="115"/>
          <ac:spMkLst>
            <pc:docMk/>
            <pc:sldMk cId="262661586" sldId="441"/>
            <ac:spMk id="68" creationId="{B4587D13-8F0D-2640-A4F5-B5F2BB27D966}"/>
          </ac:spMkLst>
        </pc:spChg>
        <pc:spChg chg="mod">
          <ac:chgData name="Christopher Schulz" userId="c7a37fbc-fc18-47fa-bc4e-1f96df76f530" providerId="ADAL" clId="{D7F914C0-A41A-D140-BD42-2AE8ADED66B5}" dt="2020-02-17T21:08:55.545" v="973" actId="115"/>
          <ac:spMkLst>
            <pc:docMk/>
            <pc:sldMk cId="262661586" sldId="441"/>
            <ac:spMk id="78" creationId="{E1A175B2-75F9-7741-9683-4400A733C301}"/>
          </ac:spMkLst>
        </pc:spChg>
        <pc:picChg chg="add mod">
          <ac:chgData name="Christopher Schulz" userId="c7a37fbc-fc18-47fa-bc4e-1f96df76f530" providerId="ADAL" clId="{D7F914C0-A41A-D140-BD42-2AE8ADED66B5}" dt="2020-02-17T21:09:12.201" v="978" actId="1076"/>
          <ac:picMkLst>
            <pc:docMk/>
            <pc:sldMk cId="262661586" sldId="441"/>
            <ac:picMk id="5" creationId="{FD97028A-D64A-EE49-B5D2-364637A78E41}"/>
          </ac:picMkLst>
        </pc:picChg>
        <pc:picChg chg="del">
          <ac:chgData name="Christopher Schulz" userId="c7a37fbc-fc18-47fa-bc4e-1f96df76f530" providerId="ADAL" clId="{D7F914C0-A41A-D140-BD42-2AE8ADED66B5}" dt="2020-02-17T21:09:17.599" v="980" actId="478"/>
          <ac:picMkLst>
            <pc:docMk/>
            <pc:sldMk cId="262661586" sldId="441"/>
            <ac:picMk id="6" creationId="{DB42ED7E-A908-CB41-B41D-BE1B48EB1B39}"/>
          </ac:picMkLst>
        </pc:picChg>
        <pc:picChg chg="del">
          <ac:chgData name="Christopher Schulz" userId="c7a37fbc-fc18-47fa-bc4e-1f96df76f530" providerId="ADAL" clId="{D7F914C0-A41A-D140-BD42-2AE8ADED66B5}" dt="2020-02-17T21:09:35.747" v="983" actId="478"/>
          <ac:picMkLst>
            <pc:docMk/>
            <pc:sldMk cId="262661586" sldId="441"/>
            <ac:picMk id="8" creationId="{62B796B7-1932-9D4A-BA6B-823B6ED2E551}"/>
          </ac:picMkLst>
        </pc:picChg>
        <pc:picChg chg="add mod">
          <ac:chgData name="Christopher Schulz" userId="c7a37fbc-fc18-47fa-bc4e-1f96df76f530" providerId="ADAL" clId="{D7F914C0-A41A-D140-BD42-2AE8ADED66B5}" dt="2020-02-17T21:09:28.453" v="982" actId="1076"/>
          <ac:picMkLst>
            <pc:docMk/>
            <pc:sldMk cId="262661586" sldId="441"/>
            <ac:picMk id="9" creationId="{FEB1646B-B68B-B94B-8822-8CADBDCFCBCF}"/>
          </ac:picMkLst>
        </pc:picChg>
        <pc:picChg chg="add del mod">
          <ac:chgData name="Christopher Schulz" userId="c7a37fbc-fc18-47fa-bc4e-1f96df76f530" providerId="ADAL" clId="{D7F914C0-A41A-D140-BD42-2AE8ADED66B5}" dt="2020-02-17T21:12:53.009" v="1013" actId="478"/>
          <ac:picMkLst>
            <pc:docMk/>
            <pc:sldMk cId="262661586" sldId="441"/>
            <ac:picMk id="11" creationId="{186DD79D-FA1C-034F-989B-491410EE0E64}"/>
          </ac:picMkLst>
        </pc:picChg>
        <pc:picChg chg="add del mod">
          <ac:chgData name="Christopher Schulz" userId="c7a37fbc-fc18-47fa-bc4e-1f96df76f530" providerId="ADAL" clId="{D7F914C0-A41A-D140-BD42-2AE8ADED66B5}" dt="2020-02-17T21:12:42.428" v="1011" actId="478"/>
          <ac:picMkLst>
            <pc:docMk/>
            <pc:sldMk cId="262661586" sldId="441"/>
            <ac:picMk id="13" creationId="{8ED7FDE7-F125-E14D-AEB9-92A19806748E}"/>
          </ac:picMkLst>
        </pc:picChg>
        <pc:picChg chg="del">
          <ac:chgData name="Christopher Schulz" userId="c7a37fbc-fc18-47fa-bc4e-1f96df76f530" providerId="ADAL" clId="{D7F914C0-A41A-D140-BD42-2AE8ADED66B5}" dt="2020-02-17T21:11:00.329" v="999" actId="478"/>
          <ac:picMkLst>
            <pc:docMk/>
            <pc:sldMk cId="262661586" sldId="441"/>
            <ac:picMk id="14" creationId="{B6B600DD-82C1-1A45-A1B1-94AD953E06DC}"/>
          </ac:picMkLst>
        </pc:picChg>
        <pc:picChg chg="add mod">
          <ac:chgData name="Christopher Schulz" userId="c7a37fbc-fc18-47fa-bc4e-1f96df76f530" providerId="ADAL" clId="{D7F914C0-A41A-D140-BD42-2AE8ADED66B5}" dt="2020-02-17T21:10:08.777" v="991" actId="1076"/>
          <ac:picMkLst>
            <pc:docMk/>
            <pc:sldMk cId="262661586" sldId="441"/>
            <ac:picMk id="16" creationId="{87AD33BD-F0F8-7F4A-8896-FC10AEB1F78C}"/>
          </ac:picMkLst>
        </pc:picChg>
        <pc:picChg chg="del">
          <ac:chgData name="Christopher Schulz" userId="c7a37fbc-fc18-47fa-bc4e-1f96df76f530" providerId="ADAL" clId="{D7F914C0-A41A-D140-BD42-2AE8ADED66B5}" dt="2020-02-17T21:09:58.906" v="989" actId="478"/>
          <ac:picMkLst>
            <pc:docMk/>
            <pc:sldMk cId="262661586" sldId="441"/>
            <ac:picMk id="17" creationId="{AD2E7C2A-19EB-0344-8D3D-365177FAFA98}"/>
          </ac:picMkLst>
        </pc:picChg>
        <pc:picChg chg="add del mod">
          <ac:chgData name="Christopher Schulz" userId="c7a37fbc-fc18-47fa-bc4e-1f96df76f530" providerId="ADAL" clId="{D7F914C0-A41A-D140-BD42-2AE8ADED66B5}" dt="2020-02-18T06:01:24.551" v="1019" actId="478"/>
          <ac:picMkLst>
            <pc:docMk/>
            <pc:sldMk cId="262661586" sldId="441"/>
            <ac:picMk id="19" creationId="{96A75E5F-BBFD-9B4B-815B-5DDB5D0750F9}"/>
          </ac:picMkLst>
        </pc:picChg>
        <pc:picChg chg="del">
          <ac:chgData name="Christopher Schulz" userId="c7a37fbc-fc18-47fa-bc4e-1f96df76f530" providerId="ADAL" clId="{D7F914C0-A41A-D140-BD42-2AE8ADED66B5}" dt="2020-02-17T21:09:43.492" v="985" actId="478"/>
          <ac:picMkLst>
            <pc:docMk/>
            <pc:sldMk cId="262661586" sldId="441"/>
            <ac:picMk id="21" creationId="{81672601-4504-D344-A431-DFCF7E932F30}"/>
          </ac:picMkLst>
        </pc:picChg>
        <pc:picChg chg="add mod">
          <ac:chgData name="Christopher Schulz" userId="c7a37fbc-fc18-47fa-bc4e-1f96df76f530" providerId="ADAL" clId="{D7F914C0-A41A-D140-BD42-2AE8ADED66B5}" dt="2020-02-17T21:11:05.852" v="1000" actId="1076"/>
          <ac:picMkLst>
            <pc:docMk/>
            <pc:sldMk cId="262661586" sldId="441"/>
            <ac:picMk id="22" creationId="{5625DB93-109D-0D41-B156-EC7BAC3FF2D4}"/>
          </ac:picMkLst>
        </pc:picChg>
        <pc:picChg chg="del">
          <ac:chgData name="Christopher Schulz" userId="c7a37fbc-fc18-47fa-bc4e-1f96df76f530" providerId="ADAL" clId="{D7F914C0-A41A-D140-BD42-2AE8ADED66B5}" dt="2020-02-17T21:09:05.066" v="977" actId="478"/>
          <ac:picMkLst>
            <pc:docMk/>
            <pc:sldMk cId="262661586" sldId="441"/>
            <ac:picMk id="23" creationId="{263C916C-4583-FC41-BB14-3AAC0056EC22}"/>
          </ac:picMkLst>
        </pc:picChg>
        <pc:picChg chg="add del mod">
          <ac:chgData name="Christopher Schulz" userId="c7a37fbc-fc18-47fa-bc4e-1f96df76f530" providerId="ADAL" clId="{D7F914C0-A41A-D140-BD42-2AE8ADED66B5}" dt="2020-02-17T21:12:15.624" v="1005" actId="478"/>
          <ac:picMkLst>
            <pc:docMk/>
            <pc:sldMk cId="262661586" sldId="441"/>
            <ac:picMk id="25" creationId="{660720C0-0F1F-E547-A660-5AEBB098CDC1}"/>
          </ac:picMkLst>
        </pc:picChg>
        <pc:picChg chg="add mod">
          <ac:chgData name="Christopher Schulz" userId="c7a37fbc-fc18-47fa-bc4e-1f96df76f530" providerId="ADAL" clId="{D7F914C0-A41A-D140-BD42-2AE8ADED66B5}" dt="2020-02-17T21:12:21.791" v="1006" actId="1076"/>
          <ac:picMkLst>
            <pc:docMk/>
            <pc:sldMk cId="262661586" sldId="441"/>
            <ac:picMk id="27" creationId="{7C5C1CCB-2292-5645-A45A-FF66AC65074F}"/>
          </ac:picMkLst>
        </pc:picChg>
        <pc:picChg chg="add mod">
          <ac:chgData name="Christopher Schulz" userId="c7a37fbc-fc18-47fa-bc4e-1f96df76f530" providerId="ADAL" clId="{D7F914C0-A41A-D140-BD42-2AE8ADED66B5}" dt="2020-02-17T21:12:50.925" v="1012" actId="1076"/>
          <ac:picMkLst>
            <pc:docMk/>
            <pc:sldMk cId="262661586" sldId="441"/>
            <ac:picMk id="29" creationId="{939923BC-3CB7-8B42-93ED-88681774AF1B}"/>
          </ac:picMkLst>
        </pc:picChg>
      </pc:sldChg>
      <pc:sldMasterChg chg="del delSldLayout">
        <pc:chgData name="Christopher Schulz" userId="c7a37fbc-fc18-47fa-bc4e-1f96df76f530" providerId="ADAL" clId="{D7F914C0-A41A-D140-BD42-2AE8ADED66B5}" dt="2020-02-17T20:48:29.940" v="533" actId="2696"/>
        <pc:sldMasterMkLst>
          <pc:docMk/>
          <pc:sldMasterMk cId="2394559101" sldId="2147483670"/>
        </pc:sldMasterMkLst>
        <pc:sldLayoutChg chg="del">
          <pc:chgData name="Christopher Schulz" userId="c7a37fbc-fc18-47fa-bc4e-1f96df76f530" providerId="ADAL" clId="{D7F914C0-A41A-D140-BD42-2AE8ADED66B5}" dt="2020-02-17T20:48:29.922" v="522" actId="2696"/>
          <pc:sldLayoutMkLst>
            <pc:docMk/>
            <pc:sldMasterMk cId="2394559101" sldId="2147483670"/>
            <pc:sldLayoutMk cId="2129078880" sldId="2147483671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24" v="523" actId="2696"/>
          <pc:sldLayoutMkLst>
            <pc:docMk/>
            <pc:sldMasterMk cId="2394559101" sldId="2147483670"/>
            <pc:sldLayoutMk cId="2158486960" sldId="2147483672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25" v="524" actId="2696"/>
          <pc:sldLayoutMkLst>
            <pc:docMk/>
            <pc:sldMasterMk cId="2394559101" sldId="2147483670"/>
            <pc:sldLayoutMk cId="2599357180" sldId="2147483673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26" v="525" actId="2696"/>
          <pc:sldLayoutMkLst>
            <pc:docMk/>
            <pc:sldMasterMk cId="2394559101" sldId="2147483670"/>
            <pc:sldLayoutMk cId="2509802784" sldId="2147483674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28" v="526" actId="2696"/>
          <pc:sldLayoutMkLst>
            <pc:docMk/>
            <pc:sldMasterMk cId="2394559101" sldId="2147483670"/>
            <pc:sldLayoutMk cId="4279668960" sldId="2147483675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29" v="527" actId="2696"/>
          <pc:sldLayoutMkLst>
            <pc:docMk/>
            <pc:sldMasterMk cId="2394559101" sldId="2147483670"/>
            <pc:sldLayoutMk cId="1029814949" sldId="2147483676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30" v="528" actId="2696"/>
          <pc:sldLayoutMkLst>
            <pc:docMk/>
            <pc:sldMasterMk cId="2394559101" sldId="2147483670"/>
            <pc:sldLayoutMk cId="3552784791" sldId="2147483677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31" v="529" actId="2696"/>
          <pc:sldLayoutMkLst>
            <pc:docMk/>
            <pc:sldMasterMk cId="2394559101" sldId="2147483670"/>
            <pc:sldLayoutMk cId="1950862395" sldId="2147483678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33" v="530" actId="2696"/>
          <pc:sldLayoutMkLst>
            <pc:docMk/>
            <pc:sldMasterMk cId="2394559101" sldId="2147483670"/>
            <pc:sldLayoutMk cId="2644237006" sldId="2147483679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34" v="531" actId="2696"/>
          <pc:sldLayoutMkLst>
            <pc:docMk/>
            <pc:sldMasterMk cId="2394559101" sldId="2147483670"/>
            <pc:sldLayoutMk cId="1323777053" sldId="2147483680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35" v="532" actId="2696"/>
          <pc:sldLayoutMkLst>
            <pc:docMk/>
            <pc:sldMasterMk cId="2394559101" sldId="2147483670"/>
            <pc:sldLayoutMk cId="3403866977" sldId="2147483681"/>
          </pc:sldLayoutMkLst>
        </pc:sldLayoutChg>
      </pc:sldMasterChg>
    </pc:docChg>
  </pc:docChgLst>
  <pc:docChgLst>
    <pc:chgData name="Christopher Schulz" userId="c7a37fbc-fc18-47fa-bc4e-1f96df76f530" providerId="ADAL" clId="{5AE1FFFA-1CDA-E248-A91E-025040AAA645}"/>
  </pc:docChgLst>
  <pc:docChgLst>
    <pc:chgData name="Christopher Schulz" userId="c7a37fbc-fc18-47fa-bc4e-1f96df76f530" providerId="ADAL" clId="{5A696046-BDB4-DB47-BFBC-8F2794AD06FC}"/>
    <pc:docChg chg="addSld delSld modSld modMainMaster">
      <pc:chgData name="Christopher Schulz" userId="c7a37fbc-fc18-47fa-bc4e-1f96df76f530" providerId="ADAL" clId="{5A696046-BDB4-DB47-BFBC-8F2794AD06FC}" dt="2019-08-10T10:30:29.110" v="6" actId="207"/>
      <pc:docMkLst>
        <pc:docMk/>
      </pc:docMkLst>
      <pc:sldMasterChg chg="modSp modSldLayout">
        <pc:chgData name="Christopher Schulz" userId="c7a37fbc-fc18-47fa-bc4e-1f96df76f530" providerId="ADAL" clId="{5A696046-BDB4-DB47-BFBC-8F2794AD06FC}" dt="2019-08-10T10:30:29.110" v="6" actId="207"/>
        <pc:sldMasterMkLst>
          <pc:docMk/>
          <pc:sldMasterMk cId="0" sldId="2147483648"/>
        </pc:sldMasterMkLst>
        <pc:spChg chg="mod">
          <ac:chgData name="Christopher Schulz" userId="c7a37fbc-fc18-47fa-bc4e-1f96df76f530" providerId="ADAL" clId="{5A696046-BDB4-DB47-BFBC-8F2794AD06FC}" dt="2019-08-10T10:30:09.348" v="4" actId="207"/>
          <ac:spMkLst>
            <pc:docMk/>
            <pc:sldMasterMk cId="0" sldId="2147483648"/>
            <ac:spMk id="50" creationId="{42E84C75-39DA-45C3-8B21-2C2A2FA71D72}"/>
          </ac:spMkLst>
        </pc:spChg>
        <pc:spChg chg="mod">
          <ac:chgData name="Christopher Schulz" userId="c7a37fbc-fc18-47fa-bc4e-1f96df76f530" providerId="ADAL" clId="{5A696046-BDB4-DB47-BFBC-8F2794AD06FC}" dt="2019-08-10T10:30:02.541" v="3" actId="207"/>
          <ac:spMkLst>
            <pc:docMk/>
            <pc:sldMasterMk cId="0" sldId="2147483648"/>
            <ac:spMk id="73" creationId="{00000000-0000-0000-0000-000000000000}"/>
          </ac:spMkLst>
        </pc:spChg>
        <pc:sldLayoutChg chg="modSp">
          <pc:chgData name="Christopher Schulz" userId="c7a37fbc-fc18-47fa-bc4e-1f96df76f530" providerId="ADAL" clId="{5A696046-BDB4-DB47-BFBC-8F2794AD06FC}" dt="2019-08-10T10:30:29.110" v="6" actId="207"/>
          <pc:sldLayoutMkLst>
            <pc:docMk/>
            <pc:sldMasterMk cId="0" sldId="2147483648"/>
            <pc:sldLayoutMk cId="4121594000" sldId="2147483667"/>
          </pc:sldLayoutMkLst>
          <pc:spChg chg="mod">
            <ac:chgData name="Christopher Schulz" userId="c7a37fbc-fc18-47fa-bc4e-1f96df76f530" providerId="ADAL" clId="{5A696046-BDB4-DB47-BFBC-8F2794AD06FC}" dt="2019-08-10T10:30:29.110" v="6" actId="207"/>
            <ac:spMkLst>
              <pc:docMk/>
              <pc:sldMasterMk cId="0" sldId="2147483648"/>
              <pc:sldLayoutMk cId="4121594000" sldId="2147483667"/>
              <ac:spMk id="3" creationId="{00000000-0000-0000-0000-000000000000}"/>
            </ac:spMkLst>
          </pc:spChg>
        </pc:sldLayoutChg>
        <pc:sldLayoutChg chg="addSp">
          <pc:chgData name="Christopher Schulz" userId="c7a37fbc-fc18-47fa-bc4e-1f96df76f530" providerId="ADAL" clId="{5A696046-BDB4-DB47-BFBC-8F2794AD06FC}" dt="2019-08-10T10:17:00.597" v="0"/>
          <pc:sldLayoutMkLst>
            <pc:docMk/>
            <pc:sldMasterMk cId="0" sldId="2147483648"/>
            <pc:sldLayoutMk cId="921124016" sldId="2147483668"/>
          </pc:sldLayoutMkLst>
          <pc:picChg chg="add">
            <ac:chgData name="Christopher Schulz" userId="c7a37fbc-fc18-47fa-bc4e-1f96df76f530" providerId="ADAL" clId="{5A696046-BDB4-DB47-BFBC-8F2794AD06FC}" dt="2019-08-10T10:17:00.597" v="0"/>
            <ac:picMkLst>
              <pc:docMk/>
              <pc:sldMasterMk cId="0" sldId="2147483648"/>
              <pc:sldLayoutMk cId="921124016" sldId="2147483668"/>
              <ac:picMk id="6" creationId="{E25B0BB9-1CCD-FB4F-A0D7-42C445E632FE}"/>
            </ac:picMkLst>
          </pc:picChg>
        </pc:sldLayoutChg>
      </pc:sldMasterChg>
    </pc:docChg>
  </pc:docChgLst>
  <pc:docChgLst>
    <pc:chgData name="Christopher Schulz" userId="S::c.schulz@palladio-consulting.de::c7a37fbc-fc18-47fa-bc4e-1f96df76f530" providerId="AD" clId="Web-{B8452DD1-57CB-53F4-D26D-849DA3626ACC}"/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723C8B-2717-4CDE-BEE6-18ABB9C6FA79}" type="datetimeFigureOut">
              <a:rPr lang="de-DE" smtClean="0"/>
              <a:t>19.04.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1D63DA-5223-4012-9641-AF0D026023A9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16333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6D25BE-4D64-4415-8FA1-241CC2DCED3A}" type="datetimeFigureOut">
              <a:rPr lang="de-DE" smtClean="0"/>
              <a:t>19.04.20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0488FB-7475-4B88-89D7-DBB5E54523E4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12498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ild ersetz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0488FB-7475-4B88-89D7-DBB5E54523E4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45245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Sub-Titel_intern_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39077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platzhalter 72"/>
          <p:cNvSpPr>
            <a:spLocks noGrp="1"/>
          </p:cNvSpPr>
          <p:nvPr>
            <p:ph type="title"/>
          </p:nvPr>
        </p:nvSpPr>
        <p:spPr>
          <a:xfrm>
            <a:off x="457200" y="50801"/>
            <a:ext cx="7210425" cy="364902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>
                <a:solidFill>
                  <a:srgbClr val="4C586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 flipH="1">
            <a:off x="466972" y="730133"/>
            <a:ext cx="7200000" cy="0"/>
          </a:xfrm>
          <a:prstGeom prst="line">
            <a:avLst/>
          </a:prstGeom>
          <a:ln cap="flat">
            <a:solidFill>
              <a:srgbClr val="7373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466725" y="415703"/>
            <a:ext cx="7200900" cy="31931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Clr>
                <a:schemeClr val="tx1"/>
              </a:buClr>
              <a:buFont typeface="Arial" panose="020B0604020202020204" pitchFamily="34" charset="0"/>
              <a:buNone/>
              <a:defRPr sz="1600" baseline="0">
                <a:solidFill>
                  <a:srgbClr val="4C5861"/>
                </a:solidFill>
                <a:latin typeface="+mn-lt"/>
              </a:defRPr>
            </a:lvl1pPr>
            <a:lvl2pPr marL="800100" indent="-3429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1200150" indent="-28575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657350" indent="-28575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4pPr>
            <a:lvl5pPr marL="2114550" indent="-28575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Sub-Headline – Arial – 16px</a:t>
            </a:r>
          </a:p>
        </p:txBody>
      </p:sp>
      <p:sp>
        <p:nvSpPr>
          <p:cNvPr id="7" name="Datumsplatzhalter 1"/>
          <p:cNvSpPr>
            <a:spLocks noGrp="1"/>
          </p:cNvSpPr>
          <p:nvPr>
            <p:ph type="dt" sz="half" idx="2"/>
          </p:nvPr>
        </p:nvSpPr>
        <p:spPr>
          <a:xfrm>
            <a:off x="475655" y="4729006"/>
            <a:ext cx="566935" cy="27463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de-DE" sz="800" smtClean="0">
                <a:solidFill>
                  <a:srgbClr val="4C586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226"/>
            <a:r>
              <a:rPr lang="de-DE" dirty="0"/>
              <a:t>08.06.2015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68313" y="915988"/>
            <a:ext cx="8273951" cy="3671887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rgbClr val="3F98A6"/>
              </a:buClr>
              <a:buFont typeface="Wingdings" panose="05000000000000000000" pitchFamily="2" charset="2"/>
              <a:buChar char="§"/>
              <a:defRPr sz="1600">
                <a:solidFill>
                  <a:schemeClr val="accent6"/>
                </a:solidFill>
              </a:defRPr>
            </a:lvl1pPr>
            <a:lvl2pPr marL="625475" indent="-168275">
              <a:buClr>
                <a:srgbClr val="3F98A6"/>
              </a:buClr>
              <a:buFont typeface="Wingdings" panose="05000000000000000000" pitchFamily="2" charset="2"/>
              <a:buChar char="§"/>
              <a:defRPr sz="1600">
                <a:solidFill>
                  <a:schemeClr val="accent6"/>
                </a:solidFill>
              </a:defRPr>
            </a:lvl2pPr>
            <a:lvl3pPr marL="1074738" indent="-160338">
              <a:buClr>
                <a:srgbClr val="3F98A6"/>
              </a:buClr>
              <a:buFont typeface="Wingdings" panose="05000000000000000000" pitchFamily="2" charset="2"/>
              <a:buChar char="§"/>
              <a:defRPr sz="1600">
                <a:solidFill>
                  <a:schemeClr val="accent6"/>
                </a:solidFill>
              </a:defRPr>
            </a:lvl3pPr>
            <a:lvl4pPr marL="1524000" indent="-152400">
              <a:buClr>
                <a:srgbClr val="3F98A6"/>
              </a:buClr>
              <a:buFont typeface="Wingdings" panose="05000000000000000000" pitchFamily="2" charset="2"/>
              <a:buChar char="§"/>
              <a:defRPr sz="1600">
                <a:solidFill>
                  <a:schemeClr val="accent6"/>
                </a:solidFill>
              </a:defRPr>
            </a:lvl4pPr>
            <a:lvl5pPr marL="1973263" indent="-144463">
              <a:buClr>
                <a:srgbClr val="3F98A6"/>
              </a:buClr>
              <a:buFont typeface="Wingdings" panose="05000000000000000000" pitchFamily="2" charset="2"/>
              <a:buChar char="§"/>
              <a:defRPr sz="1600"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B4887A4-73DA-4E9E-9DF2-7409FE406AC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4368" y="242398"/>
            <a:ext cx="10537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5940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eite mit blaue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-27940" y="0"/>
            <a:ext cx="9180000" cy="3291830"/>
          </a:xfrm>
          <a:prstGeom prst="rect">
            <a:avLst/>
          </a:prstGeom>
          <a:solidFill>
            <a:srgbClr val="3F98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Helvetic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68313" y="3507854"/>
            <a:ext cx="8424862" cy="45444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chemeClr val="accent6"/>
                </a:solidFill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68313" y="3795886"/>
            <a:ext cx="8424862" cy="36120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accent6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8313" y="4362450"/>
            <a:ext cx="3924300" cy="215900"/>
          </a:xfrm>
          <a:prstGeom prst="rect">
            <a:avLst/>
          </a:prstGeom>
        </p:spPr>
        <p:txBody>
          <a:bodyPr tIns="46800" anchor="ctr"/>
          <a:lstStyle>
            <a:lvl1pPr>
              <a:defRPr sz="12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Autor: Vorname, Nach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5B0BB9-1CCD-FB4F-A0D7-42C445E632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1104" y="267494"/>
            <a:ext cx="1516162" cy="51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1240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D87F104-FA62-4A9D-B309-2FB961B4B3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1A00EA9-C545-4D13-94CE-8BC4B0E409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BD3BC9E-D50A-4C33-8455-E66DEA420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8D660A-03D6-48BE-83F1-0DBF378AD796}" type="datetimeFigureOut">
              <a:rPr lang="de-DE" smtClean="0"/>
              <a:t>19.04.20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9771ED-962B-4C3B-852F-1A08CDAEC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CB4BAF7-ABAD-4BCE-9EDE-3C77459C19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CCDE2-B182-4B76-91E2-D732A4F9AD84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89323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008739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Folie" r:id="rId21" imgW="216" imgH="216" progId="TCLayout.ActiveDocument.1">
                  <p:embed/>
                </p:oleObj>
              </mc:Choice>
              <mc:Fallback>
                <p:oleObj name="think-cell Folie" r:id="rId21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Gerade Verbindung 18"/>
          <p:cNvCxnSpPr/>
          <p:nvPr>
            <p:custDataLst>
              <p:tags r:id="rId7"/>
            </p:custDataLst>
          </p:nvPr>
        </p:nvCxnSpPr>
        <p:spPr bwMode="auto">
          <a:xfrm flipH="1">
            <a:off x="-252537" y="156761"/>
            <a:ext cx="216000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Gerade Verbindung 36"/>
          <p:cNvCxnSpPr/>
          <p:nvPr>
            <p:custDataLst>
              <p:tags r:id="rId8"/>
            </p:custDataLst>
          </p:nvPr>
        </p:nvCxnSpPr>
        <p:spPr bwMode="auto">
          <a:xfrm flipH="1">
            <a:off x="467497" y="-236562"/>
            <a:ext cx="0" cy="21600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Rectangle 50"/>
          <p:cNvSpPr>
            <a:spLocks noChangeArrowheads="1"/>
          </p:cNvSpPr>
          <p:nvPr/>
        </p:nvSpPr>
        <p:spPr bwMode="gray">
          <a:xfrm>
            <a:off x="-1003278" y="50800"/>
            <a:ext cx="612825" cy="595188"/>
          </a:xfrm>
          <a:prstGeom prst="rect">
            <a:avLst/>
          </a:prstGeom>
          <a:solidFill>
            <a:srgbClr val="3F98A6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63</a:t>
            </a:r>
            <a:b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52</a:t>
            </a:r>
            <a:b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66</a:t>
            </a:r>
          </a:p>
        </p:txBody>
      </p:sp>
      <p:sp>
        <p:nvSpPr>
          <p:cNvPr id="43" name="Rectangle 51"/>
          <p:cNvSpPr>
            <a:spLocks noChangeArrowheads="1"/>
          </p:cNvSpPr>
          <p:nvPr/>
        </p:nvSpPr>
        <p:spPr bwMode="gray">
          <a:xfrm>
            <a:off x="-1003278" y="676225"/>
            <a:ext cx="613962" cy="596293"/>
          </a:xfrm>
          <a:prstGeom prst="rect">
            <a:avLst/>
          </a:prstGeom>
          <a:solidFill>
            <a:srgbClr val="4DC1CB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77</a:t>
            </a:r>
            <a:b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93</a:t>
            </a:r>
            <a:b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203</a:t>
            </a:r>
          </a:p>
        </p:txBody>
      </p:sp>
      <p:sp>
        <p:nvSpPr>
          <p:cNvPr id="44" name="Rectangle 52"/>
          <p:cNvSpPr>
            <a:spLocks noChangeArrowheads="1"/>
          </p:cNvSpPr>
          <p:nvPr/>
        </p:nvSpPr>
        <p:spPr bwMode="gray">
          <a:xfrm>
            <a:off x="-1003278" y="1324297"/>
            <a:ext cx="613962" cy="596293"/>
          </a:xfrm>
          <a:prstGeom prst="rect">
            <a:avLst/>
          </a:prstGeom>
          <a:solidFill>
            <a:srgbClr val="4C5861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36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20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200</a:t>
            </a:r>
          </a:p>
        </p:txBody>
      </p:sp>
      <p:sp>
        <p:nvSpPr>
          <p:cNvPr id="45" name="Rectangle 53"/>
          <p:cNvSpPr>
            <a:spLocks noChangeArrowheads="1"/>
          </p:cNvSpPr>
          <p:nvPr/>
        </p:nvSpPr>
        <p:spPr bwMode="gray">
          <a:xfrm>
            <a:off x="-1003278" y="1972369"/>
            <a:ext cx="613962" cy="59629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0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70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14</a:t>
            </a:r>
          </a:p>
        </p:txBody>
      </p:sp>
      <p:sp>
        <p:nvSpPr>
          <p:cNvPr id="46" name="Rectangle 54"/>
          <p:cNvSpPr>
            <a:spLocks noChangeArrowheads="1"/>
          </p:cNvSpPr>
          <p:nvPr/>
        </p:nvSpPr>
        <p:spPr bwMode="gray">
          <a:xfrm>
            <a:off x="-1003278" y="2620441"/>
            <a:ext cx="612824" cy="595188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255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197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0</a:t>
            </a:r>
          </a:p>
        </p:txBody>
      </p:sp>
      <p:sp>
        <p:nvSpPr>
          <p:cNvPr id="47" name="Rectangle 55"/>
          <p:cNvSpPr>
            <a:spLocks noChangeArrowheads="1"/>
          </p:cNvSpPr>
          <p:nvPr/>
        </p:nvSpPr>
        <p:spPr bwMode="gray">
          <a:xfrm>
            <a:off x="-1003278" y="3248632"/>
            <a:ext cx="613962" cy="59629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255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53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0</a:t>
            </a:r>
          </a:p>
        </p:txBody>
      </p:sp>
      <p:sp>
        <p:nvSpPr>
          <p:cNvPr id="48" name="Rectangle 56"/>
          <p:cNvSpPr>
            <a:spLocks noChangeArrowheads="1"/>
          </p:cNvSpPr>
          <p:nvPr/>
        </p:nvSpPr>
        <p:spPr bwMode="gray">
          <a:xfrm>
            <a:off x="-1003278" y="3867785"/>
            <a:ext cx="613962" cy="596293"/>
          </a:xfrm>
          <a:prstGeom prst="rect">
            <a:avLst/>
          </a:prstGeom>
          <a:solidFill>
            <a:srgbClr val="AA142D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92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0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0</a:t>
            </a:r>
          </a:p>
        </p:txBody>
      </p:sp>
      <p:cxnSp>
        <p:nvCxnSpPr>
          <p:cNvPr id="61" name="Gerade Verbindung 60"/>
          <p:cNvCxnSpPr/>
          <p:nvPr/>
        </p:nvCxnSpPr>
        <p:spPr>
          <a:xfrm flipH="1">
            <a:off x="469449" y="4731990"/>
            <a:ext cx="8259897" cy="0"/>
          </a:xfrm>
          <a:prstGeom prst="line">
            <a:avLst/>
          </a:prstGeom>
          <a:ln cap="flat">
            <a:solidFill>
              <a:srgbClr val="7373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>
            <p:custDataLst>
              <p:tags r:id="rId9"/>
            </p:custDataLst>
          </p:nvPr>
        </p:nvCxnSpPr>
        <p:spPr bwMode="auto">
          <a:xfrm flipH="1">
            <a:off x="-252536" y="733108"/>
            <a:ext cx="207393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Gerade Verbindung 63"/>
          <p:cNvCxnSpPr/>
          <p:nvPr>
            <p:custDataLst>
              <p:tags r:id="rId10"/>
            </p:custDataLst>
          </p:nvPr>
        </p:nvCxnSpPr>
        <p:spPr bwMode="auto">
          <a:xfrm flipH="1">
            <a:off x="-252536" y="2569276"/>
            <a:ext cx="207393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>
            <p:custDataLst>
              <p:tags r:id="rId11"/>
            </p:custDataLst>
          </p:nvPr>
        </p:nvCxnSpPr>
        <p:spPr bwMode="auto">
          <a:xfrm flipH="1">
            <a:off x="-252536" y="4729006"/>
            <a:ext cx="207393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Gerade Verbindung 65"/>
          <p:cNvCxnSpPr/>
          <p:nvPr>
            <p:custDataLst>
              <p:tags r:id="rId12"/>
            </p:custDataLst>
          </p:nvPr>
        </p:nvCxnSpPr>
        <p:spPr bwMode="auto">
          <a:xfrm flipH="1">
            <a:off x="-252536" y="4767263"/>
            <a:ext cx="207393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Gerade Verbindung 66"/>
          <p:cNvCxnSpPr/>
          <p:nvPr>
            <p:custDataLst>
              <p:tags r:id="rId13"/>
            </p:custDataLst>
          </p:nvPr>
        </p:nvCxnSpPr>
        <p:spPr bwMode="auto">
          <a:xfrm flipH="1">
            <a:off x="-252536" y="4945380"/>
            <a:ext cx="207393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Gerade Verbindung 69"/>
          <p:cNvCxnSpPr/>
          <p:nvPr>
            <p:custDataLst>
              <p:tags r:id="rId14"/>
            </p:custDataLst>
          </p:nvPr>
        </p:nvCxnSpPr>
        <p:spPr bwMode="auto">
          <a:xfrm flipH="1">
            <a:off x="7667625" y="-236562"/>
            <a:ext cx="0" cy="21600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Gerade Verbindung 70"/>
          <p:cNvCxnSpPr/>
          <p:nvPr>
            <p:custDataLst>
              <p:tags r:id="rId15"/>
            </p:custDataLst>
          </p:nvPr>
        </p:nvCxnSpPr>
        <p:spPr bwMode="auto">
          <a:xfrm flipH="1">
            <a:off x="8889365" y="-236562"/>
            <a:ext cx="0" cy="21600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5" name="Rectangle 56"/>
          <p:cNvSpPr>
            <a:spLocks noChangeArrowheads="1"/>
          </p:cNvSpPr>
          <p:nvPr/>
        </p:nvSpPr>
        <p:spPr bwMode="gray">
          <a:xfrm>
            <a:off x="-1003278" y="4503367"/>
            <a:ext cx="613962" cy="596293"/>
          </a:xfrm>
          <a:prstGeom prst="rect">
            <a:avLst/>
          </a:prstGeom>
          <a:solidFill>
            <a:srgbClr val="737373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15</a:t>
            </a:r>
            <a:b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15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15</a:t>
            </a:r>
          </a:p>
        </p:txBody>
      </p:sp>
      <p:cxnSp>
        <p:nvCxnSpPr>
          <p:cNvPr id="76" name="Gerade Verbindung 75"/>
          <p:cNvCxnSpPr/>
          <p:nvPr>
            <p:custDataLst>
              <p:tags r:id="rId16"/>
            </p:custDataLst>
          </p:nvPr>
        </p:nvCxnSpPr>
        <p:spPr bwMode="auto">
          <a:xfrm flipH="1">
            <a:off x="-252536" y="909956"/>
            <a:ext cx="207393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Gerade Verbindung 76"/>
          <p:cNvCxnSpPr/>
          <p:nvPr>
            <p:custDataLst>
              <p:tags r:id="rId17"/>
            </p:custDataLst>
          </p:nvPr>
        </p:nvCxnSpPr>
        <p:spPr bwMode="auto">
          <a:xfrm flipH="1">
            <a:off x="-252536" y="4587875"/>
            <a:ext cx="207393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Gerade Verbindung 77"/>
          <p:cNvCxnSpPr/>
          <p:nvPr>
            <p:custDataLst>
              <p:tags r:id="rId18"/>
            </p:custDataLst>
          </p:nvPr>
        </p:nvCxnSpPr>
        <p:spPr bwMode="auto">
          <a:xfrm flipH="1">
            <a:off x="4752020" y="-236562"/>
            <a:ext cx="0" cy="21600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Gerade Verbindung 78"/>
          <p:cNvCxnSpPr/>
          <p:nvPr>
            <p:custDataLst>
              <p:tags r:id="rId19"/>
            </p:custDataLst>
          </p:nvPr>
        </p:nvCxnSpPr>
        <p:spPr bwMode="auto">
          <a:xfrm flipH="1">
            <a:off x="4392613" y="-236562"/>
            <a:ext cx="0" cy="21600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Gerade Verbindung 79"/>
          <p:cNvCxnSpPr/>
          <p:nvPr>
            <p:custDataLst>
              <p:tags r:id="rId20"/>
            </p:custDataLst>
          </p:nvPr>
        </p:nvCxnSpPr>
        <p:spPr bwMode="auto">
          <a:xfrm flipH="1">
            <a:off x="8729346" y="-236562"/>
            <a:ext cx="0" cy="21600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extfeld 2"/>
          <p:cNvSpPr txBox="1"/>
          <p:nvPr/>
        </p:nvSpPr>
        <p:spPr>
          <a:xfrm rot="16200000">
            <a:off x="-72997" y="-593469"/>
            <a:ext cx="8995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Weißer Rand links [kein Content!!]</a:t>
            </a:r>
          </a:p>
        </p:txBody>
      </p:sp>
      <p:sp>
        <p:nvSpPr>
          <p:cNvPr id="32" name="Textfeld 31"/>
          <p:cNvSpPr txBox="1"/>
          <p:nvPr/>
        </p:nvSpPr>
        <p:spPr>
          <a:xfrm rot="16200000">
            <a:off x="8528292" y="-593469"/>
            <a:ext cx="8995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Weißer Rand rechts [kein Content!]</a:t>
            </a:r>
          </a:p>
        </p:txBody>
      </p:sp>
      <p:sp>
        <p:nvSpPr>
          <p:cNvPr id="33" name="Textfeld 32"/>
          <p:cNvSpPr txBox="1"/>
          <p:nvPr/>
        </p:nvSpPr>
        <p:spPr>
          <a:xfrm rot="16200000">
            <a:off x="4072352" y="-554998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Mittellinie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9150814" y="-92546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Start Header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9150814" y="591586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Ende Header</a:t>
            </a:r>
          </a:p>
        </p:txBody>
      </p:sp>
      <p:sp>
        <p:nvSpPr>
          <p:cNvPr id="36" name="Textfeld 35"/>
          <p:cNvSpPr txBox="1"/>
          <p:nvPr/>
        </p:nvSpPr>
        <p:spPr>
          <a:xfrm>
            <a:off x="9150814" y="775706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Start Content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9150814" y="2419026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Mittellinie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9150814" y="4416382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Ende Content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9150814" y="4584583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Start Foooter</a:t>
            </a:r>
          </a:p>
        </p:txBody>
      </p:sp>
      <p:sp>
        <p:nvSpPr>
          <p:cNvPr id="41" name="Textfeld 40"/>
          <p:cNvSpPr txBox="1"/>
          <p:nvPr/>
        </p:nvSpPr>
        <p:spPr>
          <a:xfrm>
            <a:off x="9150814" y="4801513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Weißer Rand unten</a:t>
            </a:r>
          </a:p>
        </p:txBody>
      </p:sp>
      <p:sp>
        <p:nvSpPr>
          <p:cNvPr id="51" name="Textfeld 50"/>
          <p:cNvSpPr txBox="1"/>
          <p:nvPr/>
        </p:nvSpPr>
        <p:spPr>
          <a:xfrm rot="16200000">
            <a:off x="7130780" y="-554998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Logo Start</a:t>
            </a:r>
          </a:p>
        </p:txBody>
      </p:sp>
      <p:sp>
        <p:nvSpPr>
          <p:cNvPr id="52" name="Textfeld 51"/>
          <p:cNvSpPr txBox="1"/>
          <p:nvPr/>
        </p:nvSpPr>
        <p:spPr>
          <a:xfrm rot="16200000">
            <a:off x="8222296" y="-554999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Logo Ende</a:t>
            </a:r>
          </a:p>
        </p:txBody>
      </p:sp>
      <p:sp>
        <p:nvSpPr>
          <p:cNvPr id="53" name="Textfeld 52"/>
          <p:cNvSpPr txBox="1"/>
          <p:nvPr/>
        </p:nvSpPr>
        <p:spPr>
          <a:xfrm>
            <a:off x="-1902870" y="263755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 dirty="0"/>
              <a:t>Dunkel</a:t>
            </a:r>
          </a:p>
        </p:txBody>
      </p:sp>
      <p:sp>
        <p:nvSpPr>
          <p:cNvPr id="54" name="Textfeld 53"/>
          <p:cNvSpPr txBox="1"/>
          <p:nvPr/>
        </p:nvSpPr>
        <p:spPr>
          <a:xfrm>
            <a:off x="-1836712" y="892931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 dirty="0"/>
              <a:t>Hell</a:t>
            </a:r>
          </a:p>
        </p:txBody>
      </p:sp>
      <p:sp>
        <p:nvSpPr>
          <p:cNvPr id="55" name="Textfeld 54"/>
          <p:cNvSpPr txBox="1"/>
          <p:nvPr/>
        </p:nvSpPr>
        <p:spPr>
          <a:xfrm>
            <a:off x="-1902870" y="1537804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 dirty="0"/>
              <a:t>Schrift</a:t>
            </a:r>
          </a:p>
        </p:txBody>
      </p:sp>
      <p:sp>
        <p:nvSpPr>
          <p:cNvPr id="59" name="Textfeld 58"/>
          <p:cNvSpPr txBox="1"/>
          <p:nvPr/>
        </p:nvSpPr>
        <p:spPr>
          <a:xfrm>
            <a:off x="-1902870" y="2185876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 dirty="0"/>
              <a:t>Akzent 2</a:t>
            </a:r>
          </a:p>
        </p:txBody>
      </p:sp>
      <p:sp>
        <p:nvSpPr>
          <p:cNvPr id="60" name="Textfeld 59"/>
          <p:cNvSpPr txBox="1"/>
          <p:nvPr/>
        </p:nvSpPr>
        <p:spPr>
          <a:xfrm>
            <a:off x="-1902870" y="2833396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 dirty="0"/>
              <a:t>Akzent 3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-1902870" y="3462139"/>
            <a:ext cx="8995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 dirty="0"/>
              <a:t>Akzent 4 / besuchter Hyperlink</a:t>
            </a:r>
          </a:p>
        </p:txBody>
      </p:sp>
      <p:sp>
        <p:nvSpPr>
          <p:cNvPr id="68" name="Textfeld 67"/>
          <p:cNvSpPr txBox="1"/>
          <p:nvPr/>
        </p:nvSpPr>
        <p:spPr>
          <a:xfrm>
            <a:off x="-1902870" y="4081292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 dirty="0"/>
              <a:t>Akzent 5</a:t>
            </a:r>
          </a:p>
        </p:txBody>
      </p:sp>
      <p:sp>
        <p:nvSpPr>
          <p:cNvPr id="69" name="Textfeld 68"/>
          <p:cNvSpPr txBox="1"/>
          <p:nvPr/>
        </p:nvSpPr>
        <p:spPr>
          <a:xfrm>
            <a:off x="-1902870" y="4716874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 dirty="0"/>
              <a:t>Akzent 6</a:t>
            </a:r>
          </a:p>
        </p:txBody>
      </p:sp>
      <p:sp>
        <p:nvSpPr>
          <p:cNvPr id="72" name="Datumsplatzhalter 1"/>
          <p:cNvSpPr>
            <a:spLocks noGrp="1"/>
          </p:cNvSpPr>
          <p:nvPr>
            <p:ph type="dt" sz="half" idx="2"/>
          </p:nvPr>
        </p:nvSpPr>
        <p:spPr>
          <a:xfrm>
            <a:off x="475655" y="4729006"/>
            <a:ext cx="566935" cy="27463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de-DE" sz="800" smtClean="0">
                <a:solidFill>
                  <a:srgbClr val="4C586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226"/>
            <a:r>
              <a:rPr lang="de-DE" dirty="0"/>
              <a:t>08.06.2015</a:t>
            </a:r>
          </a:p>
        </p:txBody>
      </p:sp>
      <p:sp>
        <p:nvSpPr>
          <p:cNvPr id="73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1038882" y="4729006"/>
            <a:ext cx="2895600" cy="27463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de-DE" sz="8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226"/>
            <a:endParaRPr lang="de-DE" dirty="0"/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42E84C75-39DA-45C3-8B21-2C2A2FA71D72}"/>
              </a:ext>
            </a:extLst>
          </p:cNvPr>
          <p:cNvSpPr txBox="1"/>
          <p:nvPr userDrawn="1"/>
        </p:nvSpPr>
        <p:spPr bwMode="white">
          <a:xfrm>
            <a:off x="7380312" y="4768807"/>
            <a:ext cx="1512168" cy="17943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800" dirty="0">
                <a:solidFill>
                  <a:schemeClr val="accent6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eite </a:t>
            </a:r>
            <a:fld id="{A0607A0B-DD2B-40EB-9731-1AA75C8DC82B}" type="slidenum">
              <a:rPr lang="de-DE" sz="800" smtClean="0">
                <a:solidFill>
                  <a:schemeClr val="accent6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‹#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rgbClr val="003D7B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600" kern="1200">
          <a:solidFill>
            <a:srgbClr val="7390C4"/>
          </a:solidFill>
          <a:latin typeface="+mj-lt"/>
          <a:ea typeface="+mn-ea"/>
          <a:cs typeface="+mn-cs"/>
        </a:defRPr>
      </a:lvl1pPr>
      <a:lvl2pPr marL="457200" indent="0" algn="l" defTabSz="91440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rgbClr val="7390C4"/>
          </a:solidFill>
          <a:latin typeface="+mj-lt"/>
          <a:ea typeface="+mn-ea"/>
          <a:cs typeface="+mn-cs"/>
        </a:defRPr>
      </a:lvl2pPr>
      <a:lvl3pPr marL="914400" indent="0" algn="l" defTabSz="914400" rtl="0" eaLnBrk="1" latinLnBrk="0" hangingPunct="1">
        <a:spcBef>
          <a:spcPct val="20000"/>
        </a:spcBef>
        <a:buFont typeface="Arial" pitchFamily="34" charset="0"/>
        <a:buNone/>
        <a:defRPr sz="1800" kern="1200">
          <a:solidFill>
            <a:srgbClr val="7390C4"/>
          </a:solidFill>
          <a:latin typeface="+mj-lt"/>
          <a:ea typeface="+mn-ea"/>
          <a:cs typeface="+mn-cs"/>
        </a:defRPr>
      </a:lvl3pPr>
      <a:lvl4pPr marL="1371600" indent="0" algn="l" defTabSz="914400" rtl="0" eaLnBrk="1" latinLnBrk="0" hangingPunct="1">
        <a:spcBef>
          <a:spcPct val="20000"/>
        </a:spcBef>
        <a:buFont typeface="Arial" pitchFamily="34" charset="0"/>
        <a:buNone/>
        <a:defRPr sz="1600" kern="1200">
          <a:solidFill>
            <a:srgbClr val="7390C4"/>
          </a:solidFill>
          <a:latin typeface="+mj-lt"/>
          <a:ea typeface="+mn-ea"/>
          <a:cs typeface="+mn-cs"/>
        </a:defRPr>
      </a:lvl4pPr>
      <a:lvl5pPr marL="1828800" indent="0" algn="l" defTabSz="914400" rtl="0" eaLnBrk="1" latinLnBrk="0" hangingPunct="1">
        <a:spcBef>
          <a:spcPct val="20000"/>
        </a:spcBef>
        <a:buFont typeface="Arial" pitchFamily="34" charset="0"/>
        <a:buNone/>
        <a:defRPr sz="1600" kern="1200">
          <a:solidFill>
            <a:srgbClr val="7390C4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sv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11" Type="http://schemas.openxmlformats.org/officeDocument/2006/relationships/image" Target="../media/image15.svg"/><Relationship Id="rId5" Type="http://schemas.openxmlformats.org/officeDocument/2006/relationships/image" Target="../media/image9.sv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17.svg"/><Relationship Id="rId7" Type="http://schemas.openxmlformats.org/officeDocument/2006/relationships/image" Target="../media/image19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png"/><Relationship Id="rId11" Type="http://schemas.openxmlformats.org/officeDocument/2006/relationships/image" Target="../media/image21.svg"/><Relationship Id="rId5" Type="http://schemas.openxmlformats.org/officeDocument/2006/relationships/image" Target="../media/image9.svg"/><Relationship Id="rId10" Type="http://schemas.openxmlformats.org/officeDocument/2006/relationships/image" Target="../media/image20.png"/><Relationship Id="rId4" Type="http://schemas.openxmlformats.org/officeDocument/2006/relationships/image" Target="../media/image8.png"/><Relationship Id="rId9" Type="http://schemas.openxmlformats.org/officeDocument/2006/relationships/image" Target="../media/image13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alladio-consulting.de/" TargetMode="External"/><Relationship Id="rId2" Type="http://schemas.openxmlformats.org/officeDocument/2006/relationships/hyperlink" Target="mailto:c.schulz@palladio-consulting.de%20%20%20?subject=Scaling%20Agile:%20Lassen%20Sie%20uns%20&#252;ber%20meine%20Themen%20sprechen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38A912A-754A-D64A-BBBB-3517900082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742" y="0"/>
            <a:ext cx="9159557" cy="5143500"/>
          </a:xfrm>
          <a:prstGeom prst="rect">
            <a:avLst/>
          </a:prstGeom>
        </p:spPr>
      </p:pic>
      <p:sp>
        <p:nvSpPr>
          <p:cNvPr id="12" name="Rechteck 1">
            <a:extLst>
              <a:ext uri="{FF2B5EF4-FFF2-40B4-BE49-F238E27FC236}">
                <a16:creationId xmlns:a16="http://schemas.microsoft.com/office/drawing/2014/main" id="{32EF9AB9-F3CC-6340-AFA5-FD80FF545825}"/>
              </a:ext>
            </a:extLst>
          </p:cNvPr>
          <p:cNvSpPr/>
          <p:nvPr/>
        </p:nvSpPr>
        <p:spPr>
          <a:xfrm>
            <a:off x="-20742" y="0"/>
            <a:ext cx="9144000" cy="5143500"/>
          </a:xfrm>
          <a:prstGeom prst="rect">
            <a:avLst/>
          </a:prstGeom>
          <a:solidFill>
            <a:schemeClr val="bg1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Rechteck 4">
            <a:extLst>
              <a:ext uri="{FF2B5EF4-FFF2-40B4-BE49-F238E27FC236}">
                <a16:creationId xmlns:a16="http://schemas.microsoft.com/office/drawing/2014/main" id="{A7BE49FE-EFD3-864D-8CE2-75132BE98557}"/>
              </a:ext>
            </a:extLst>
          </p:cNvPr>
          <p:cNvSpPr/>
          <p:nvPr/>
        </p:nvSpPr>
        <p:spPr>
          <a:xfrm>
            <a:off x="-5185" y="3336030"/>
            <a:ext cx="9144000" cy="1404344"/>
          </a:xfrm>
          <a:prstGeom prst="rect">
            <a:avLst/>
          </a:prstGeom>
          <a:solidFill>
            <a:srgbClr val="3F98A6">
              <a:alpha val="85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600" b="1" dirty="0"/>
          </a:p>
        </p:txBody>
      </p:sp>
      <p:pic>
        <p:nvPicPr>
          <p:cNvPr id="15" name="Grafik 6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10EEA0E8-2442-4648-BD4C-4664942A584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4438" y="75848"/>
            <a:ext cx="1695450" cy="579824"/>
          </a:xfrm>
          <a:prstGeom prst="rect">
            <a:avLst/>
          </a:prstGeom>
        </p:spPr>
      </p:pic>
      <p:sp>
        <p:nvSpPr>
          <p:cNvPr id="16" name="Textfeld 7">
            <a:extLst>
              <a:ext uri="{FF2B5EF4-FFF2-40B4-BE49-F238E27FC236}">
                <a16:creationId xmlns:a16="http://schemas.microsoft.com/office/drawing/2014/main" id="{B6283CED-F12B-D640-B69C-31DCB8F74681}"/>
              </a:ext>
            </a:extLst>
          </p:cNvPr>
          <p:cNvSpPr txBox="1"/>
          <p:nvPr/>
        </p:nvSpPr>
        <p:spPr>
          <a:xfrm>
            <a:off x="102319" y="3324602"/>
            <a:ext cx="6678431" cy="14157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de-DE" sz="3000" b="1" dirty="0">
                <a:solidFill>
                  <a:schemeClr val="bg1"/>
                </a:solidFill>
              </a:rPr>
              <a:t>Service Katalog</a:t>
            </a:r>
          </a:p>
          <a:p>
            <a:pPr lvl="0"/>
            <a:r>
              <a:rPr lang="de-DE" sz="2000" b="1" dirty="0">
                <a:solidFill>
                  <a:schemeClr val="bg1"/>
                </a:solidFill>
              </a:rPr>
              <a:t>Steckbrief: Business &amp; IT Diente effektiv beschreiben</a:t>
            </a:r>
          </a:p>
          <a:p>
            <a:pPr lvl="0"/>
            <a:endParaRPr lang="de-DE" sz="2000" b="1" dirty="0">
              <a:solidFill>
                <a:schemeClr val="bg1"/>
              </a:solidFill>
            </a:endParaRPr>
          </a:p>
          <a:p>
            <a:pPr lvl="0"/>
            <a:r>
              <a:rPr lang="de-DE" sz="1600" b="1" dirty="0">
                <a:solidFill>
                  <a:schemeClr val="bg1"/>
                </a:solidFill>
              </a:rPr>
              <a:t>Dr. Christopher Schulz</a:t>
            </a:r>
          </a:p>
        </p:txBody>
      </p:sp>
    </p:spTree>
    <p:extLst>
      <p:ext uri="{BB962C8B-B14F-4D97-AF65-F5344CB8AC3E}">
        <p14:creationId xmlns:p14="http://schemas.microsoft.com/office/powerpoint/2010/main" val="32090560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8C5A50-1913-4507-988E-B3319E459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Steckbrief – Kundensich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F0B0340-28DE-4C04-BA5A-1EB9C2F078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de-DE" dirty="0">
                <a:solidFill>
                  <a:schemeClr val="accent6"/>
                </a:solidFill>
              </a:rPr>
              <a:t>Name: 			| Autoren: 	 	| Datum:</a:t>
            </a:r>
          </a:p>
        </p:txBody>
      </p:sp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41E15E19-3AB0-5146-BF5E-3FB3187E47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8330087"/>
              </p:ext>
            </p:extLst>
          </p:nvPr>
        </p:nvGraphicFramePr>
        <p:xfrm>
          <a:off x="662116" y="915566"/>
          <a:ext cx="7874912" cy="33019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937456">
                  <a:extLst>
                    <a:ext uri="{9D8B030D-6E8A-4147-A177-3AD203B41FA5}">
                      <a16:colId xmlns:a16="http://schemas.microsoft.com/office/drawing/2014/main" val="2813593785"/>
                    </a:ext>
                  </a:extLst>
                </a:gridCol>
                <a:gridCol w="3937456">
                  <a:extLst>
                    <a:ext uri="{9D8B030D-6E8A-4147-A177-3AD203B41FA5}">
                      <a16:colId xmlns:a16="http://schemas.microsoft.com/office/drawing/2014/main" val="4121281225"/>
                    </a:ext>
                  </a:extLst>
                </a:gridCol>
              </a:tblGrid>
              <a:tr h="205740">
                <a:tc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Kundennutzen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F98A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Verantwortung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F98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0077079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elche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Kundenrollen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nutzen den Service wann?</a:t>
                      </a:r>
                    </a:p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orin besteht das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Nutzenversprechen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des Services?</a:t>
                      </a:r>
                    </a:p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elche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Leistungen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umfasst der Service?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er ist bei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Rückfragen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zu kontaktieren?</a:t>
                      </a:r>
                    </a:p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er </a:t>
                      </a:r>
                      <a:r>
                        <a:rPr lang="de-DE" sz="1050" i="1" u="none" dirty="0">
                          <a:solidFill>
                            <a:schemeClr val="accent6"/>
                          </a:solidFill>
                        </a:rPr>
                        <a:t>ist im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Fehlerfall</a:t>
                      </a:r>
                      <a:r>
                        <a:rPr lang="de-DE" sz="1050" i="1" u="none" dirty="0">
                          <a:solidFill>
                            <a:schemeClr val="accent6"/>
                          </a:solidFill>
                        </a:rPr>
                        <a:t> zu kontaktieren?</a:t>
                      </a:r>
                    </a:p>
                    <a:p>
                      <a:pPr marL="187325" marR="0" lvl="0" indent="-1873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de-DE" sz="1050" i="1" u="none" dirty="0">
                          <a:solidFill>
                            <a:schemeClr val="accent6"/>
                          </a:solidFill>
                        </a:rPr>
                        <a:t>Wer ist der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Service Owner</a:t>
                      </a:r>
                      <a:r>
                        <a:rPr lang="de-DE" sz="1050" i="1" u="none" dirty="0">
                          <a:solidFill>
                            <a:schemeClr val="accent6"/>
                          </a:solidFill>
                        </a:rPr>
                        <a:t>?</a:t>
                      </a:r>
                      <a:endParaRPr lang="de-DE" sz="1050" i="1" dirty="0">
                        <a:solidFill>
                          <a:schemeClr val="accent6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4696221"/>
                  </a:ext>
                </a:extLst>
              </a:tr>
              <a:tr h="127776">
                <a:tc>
                  <a:txBody>
                    <a:bodyPr/>
                    <a:lstStyle/>
                    <a:p>
                      <a:pPr marL="0" indent="0" algn="ctr">
                        <a:buFont typeface="Wingdings" pitchFamily="2" charset="2"/>
                        <a:buNone/>
                        <a:tabLst/>
                      </a:pPr>
                      <a:r>
                        <a:rPr lang="de-DE" sz="800" b="1" i="0" dirty="0">
                          <a:solidFill>
                            <a:schemeClr val="bg1"/>
                          </a:solidFill>
                        </a:rPr>
                        <a:t>Nutzung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F98A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Wingdings" pitchFamily="2" charset="2"/>
                        <a:buNone/>
                        <a:tabLst/>
                      </a:pPr>
                      <a:r>
                        <a:rPr lang="de-DE" sz="800" b="1" i="0" dirty="0">
                          <a:solidFill>
                            <a:schemeClr val="bg1"/>
                          </a:solidFill>
                        </a:rPr>
                        <a:t>Qualitätsmerkmale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F98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129882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elche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Schritte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müssen vom Kunden für Service Nutzung übernommen werden?</a:t>
                      </a:r>
                    </a:p>
                    <a:p>
                      <a:pPr marL="187325" marR="0" lvl="0" indent="-1873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elches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Endgeräte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bzw.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Software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ist für die Nutzung des Services notwendig?</a:t>
                      </a:r>
                    </a:p>
                    <a:p>
                      <a:pPr marL="187325" marR="0" lvl="0" indent="-1873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elches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Wissen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muss ein Kunde für die Nutzung besitzen?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Über welche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Zeit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ist Service verfügbar?</a:t>
                      </a:r>
                    </a:p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Mit welcher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Benutzerfreundlichkeit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(schnell, einfach, freundlich etc.) wird Service bereitgestellt?</a:t>
                      </a:r>
                    </a:p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elche weiteren </a:t>
                      </a:r>
                      <a:r>
                        <a:rPr lang="de-DE" sz="1050" i="1" u="none" dirty="0">
                          <a:solidFill>
                            <a:schemeClr val="accent6"/>
                          </a:solidFill>
                        </a:rPr>
                        <a:t>geographischen, funktionellen etc.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Randbedingungen</a:t>
                      </a:r>
                      <a:r>
                        <a:rPr lang="de-DE" sz="1050" i="1" u="none" dirty="0">
                          <a:solidFill>
                            <a:schemeClr val="accent6"/>
                          </a:solidFill>
                        </a:rPr>
                        <a:t> bestehen?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 </a:t>
                      </a:r>
                      <a:endParaRPr lang="de-DE" sz="1050" i="1" dirty="0">
                        <a:solidFill>
                          <a:schemeClr val="accent6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8470385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800" b="1" i="0" dirty="0">
                          <a:solidFill>
                            <a:schemeClr val="bg1"/>
                          </a:solidFill>
                        </a:rPr>
                        <a:t>Abrechnung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F98A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Wingdings" pitchFamily="2" charset="2"/>
                        <a:buNone/>
                        <a:tabLst/>
                      </a:pPr>
                      <a:endParaRPr lang="de-DE" sz="800" b="1" i="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F98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8534185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Nach welchen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Parametern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wird der Service verrechnet?</a:t>
                      </a:r>
                    </a:p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elche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Strafen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existieren bei Ausbleiben bzw. reduziertem Service?</a:t>
                      </a:r>
                    </a:p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ann soll die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Abrechnung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erfolgen?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endParaRPr lang="de-DE" sz="1050" i="1" dirty="0">
                        <a:solidFill>
                          <a:schemeClr val="accent6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9206773"/>
                  </a:ext>
                </a:extLst>
              </a:tr>
            </a:tbl>
          </a:graphicData>
        </a:graphic>
      </p:graphicFrame>
      <p:pic>
        <p:nvPicPr>
          <p:cNvPr id="5" name="Graphic 4" descr="Diamond">
            <a:extLst>
              <a:ext uri="{FF2B5EF4-FFF2-40B4-BE49-F238E27FC236}">
                <a16:creationId xmlns:a16="http://schemas.microsoft.com/office/drawing/2014/main" id="{04087436-D6FB-4D4E-917D-DC76371DBB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55976" y="925954"/>
            <a:ext cx="180000" cy="180000"/>
          </a:xfrm>
          <a:prstGeom prst="rect">
            <a:avLst/>
          </a:prstGeom>
        </p:spPr>
      </p:pic>
      <p:pic>
        <p:nvPicPr>
          <p:cNvPr id="9" name="Graphic 8" descr="Man">
            <a:extLst>
              <a:ext uri="{FF2B5EF4-FFF2-40B4-BE49-F238E27FC236}">
                <a16:creationId xmlns:a16="http://schemas.microsoft.com/office/drawing/2014/main" id="{D6D9F1E1-704E-4A41-8C17-9A850A6741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16416" y="915566"/>
            <a:ext cx="180000" cy="180000"/>
          </a:xfrm>
          <a:prstGeom prst="rect">
            <a:avLst/>
          </a:prstGeom>
        </p:spPr>
      </p:pic>
      <p:pic>
        <p:nvPicPr>
          <p:cNvPr id="11" name="Graphic 10" descr="Gears">
            <a:extLst>
              <a:ext uri="{FF2B5EF4-FFF2-40B4-BE49-F238E27FC236}">
                <a16:creationId xmlns:a16="http://schemas.microsoft.com/office/drawing/2014/main" id="{398B46FA-EB38-DE45-A02F-7C7E926BC7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55976" y="2013698"/>
            <a:ext cx="180000" cy="180000"/>
          </a:xfrm>
          <a:prstGeom prst="rect">
            <a:avLst/>
          </a:prstGeom>
        </p:spPr>
      </p:pic>
      <p:pic>
        <p:nvPicPr>
          <p:cNvPr id="13" name="Graphic 12" descr="Stars">
            <a:extLst>
              <a:ext uri="{FF2B5EF4-FFF2-40B4-BE49-F238E27FC236}">
                <a16:creationId xmlns:a16="http://schemas.microsoft.com/office/drawing/2014/main" id="{A9C3DF1D-6436-604A-BCAD-1FE7A53A6C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316416" y="2036808"/>
            <a:ext cx="180000" cy="180000"/>
          </a:xfrm>
          <a:prstGeom prst="rect">
            <a:avLst/>
          </a:prstGeom>
        </p:spPr>
      </p:pic>
      <p:pic>
        <p:nvPicPr>
          <p:cNvPr id="15" name="Graphic 14" descr="Money">
            <a:extLst>
              <a:ext uri="{FF2B5EF4-FFF2-40B4-BE49-F238E27FC236}">
                <a16:creationId xmlns:a16="http://schemas.microsoft.com/office/drawing/2014/main" id="{C4265CA0-67A4-004F-AB18-7CB91A01620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355976" y="3115622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0663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8C5A50-1913-4507-988E-B3319E459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Steckbrief – Anbietersich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F0B0340-28DE-4C04-BA5A-1EB9C2F078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de-DE" dirty="0">
                <a:solidFill>
                  <a:schemeClr val="accent6"/>
                </a:solidFill>
              </a:rPr>
              <a:t>Name: 			| Autoren: 	 	| Datum:</a:t>
            </a:r>
          </a:p>
        </p:txBody>
      </p:sp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41E15E19-3AB0-5146-BF5E-3FB3187E47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8918135"/>
              </p:ext>
            </p:extLst>
          </p:nvPr>
        </p:nvGraphicFramePr>
        <p:xfrm>
          <a:off x="662116" y="915566"/>
          <a:ext cx="7874912" cy="33019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937456">
                  <a:extLst>
                    <a:ext uri="{9D8B030D-6E8A-4147-A177-3AD203B41FA5}">
                      <a16:colId xmlns:a16="http://schemas.microsoft.com/office/drawing/2014/main" val="2813593785"/>
                    </a:ext>
                  </a:extLst>
                </a:gridCol>
                <a:gridCol w="3937456">
                  <a:extLst>
                    <a:ext uri="{9D8B030D-6E8A-4147-A177-3AD203B41FA5}">
                      <a16:colId xmlns:a16="http://schemas.microsoft.com/office/drawing/2014/main" val="4121281225"/>
                    </a:ext>
                  </a:extLst>
                </a:gridCol>
              </a:tblGrid>
              <a:tr h="205740">
                <a:tc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Status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F98A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800" b="1" dirty="0">
                          <a:solidFill>
                            <a:schemeClr val="bg1"/>
                          </a:solidFill>
                        </a:rPr>
                        <a:t>Verantwortung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F98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0077079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In welcher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Version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befindet sich der Service?</a:t>
                      </a:r>
                    </a:p>
                    <a:p>
                      <a:pPr marL="187325" marR="0" lvl="0" indent="-1873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elchen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Zustand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(dokumentiert, aktiv etc.) besitzt er?</a:t>
                      </a:r>
                    </a:p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elche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Kategorie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ist der Service zuzuordnen?</a:t>
                      </a:r>
                    </a:p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endParaRPr lang="de-DE" sz="1050" i="1" dirty="0">
                        <a:solidFill>
                          <a:schemeClr val="accent6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elcher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Service Provider</a:t>
                      </a:r>
                      <a:r>
                        <a:rPr lang="de-DE" sz="1050" i="1" u="none" dirty="0">
                          <a:solidFill>
                            <a:schemeClr val="accent6"/>
                          </a:solidFill>
                        </a:rPr>
                        <a:t> stellt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den Service operativ bereit?</a:t>
                      </a:r>
                    </a:p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elcher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Service Owner</a:t>
                      </a:r>
                      <a:r>
                        <a:rPr lang="de-DE" sz="1050" i="1" u="none" dirty="0">
                          <a:solidFill>
                            <a:schemeClr val="accent6"/>
                          </a:solidFill>
                        </a:rPr>
                        <a:t> 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entwickelt den Service strategisch weiter? </a:t>
                      </a:r>
                    </a:p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er </a:t>
                      </a:r>
                      <a:r>
                        <a:rPr lang="de-DE" sz="1050" i="1" u="none" dirty="0">
                          <a:solidFill>
                            <a:schemeClr val="accent6"/>
                          </a:solidFill>
                        </a:rPr>
                        <a:t>verantwortet den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Service Katalog</a:t>
                      </a:r>
                      <a:r>
                        <a:rPr lang="de-DE" sz="1050" i="1" u="none" dirty="0">
                          <a:solidFill>
                            <a:schemeClr val="accent6"/>
                          </a:solidFill>
                        </a:rPr>
                        <a:t>?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4696221"/>
                  </a:ext>
                </a:extLst>
              </a:tr>
              <a:tr h="127776">
                <a:tc>
                  <a:txBody>
                    <a:bodyPr/>
                    <a:lstStyle/>
                    <a:p>
                      <a:pPr marL="0" indent="0" algn="ctr">
                        <a:buFont typeface="Wingdings" pitchFamily="2" charset="2"/>
                        <a:buNone/>
                        <a:tabLst/>
                      </a:pPr>
                      <a:r>
                        <a:rPr lang="de-DE" sz="800" b="1" i="0" dirty="0">
                          <a:solidFill>
                            <a:schemeClr val="bg1"/>
                          </a:solidFill>
                        </a:rPr>
                        <a:t>Betriebsmittel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F98A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Wingdings" pitchFamily="2" charset="2"/>
                        <a:buNone/>
                        <a:tabLst/>
                      </a:pPr>
                      <a:r>
                        <a:rPr lang="de-DE" sz="800" b="1" i="0" dirty="0">
                          <a:solidFill>
                            <a:schemeClr val="bg1"/>
                          </a:solidFill>
                        </a:rPr>
                        <a:t>Betriebsprozess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F98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129882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elche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Hardware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ist für die Bereitstellung erforderlich?</a:t>
                      </a:r>
                    </a:p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elche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Software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ist für die Bereitstellung erforderlich?</a:t>
                      </a:r>
                    </a:p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elche weiteren </a:t>
                      </a:r>
                      <a:r>
                        <a:rPr lang="en-AU" sz="1050" i="1" u="sng" noProof="0" dirty="0">
                          <a:solidFill>
                            <a:schemeClr val="accent6"/>
                          </a:solidFill>
                        </a:rPr>
                        <a:t>Configuration Items 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(CIs) werden benötigt?</a:t>
                      </a:r>
                    </a:p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endParaRPr lang="de-DE" sz="1050" i="1" dirty="0">
                        <a:solidFill>
                          <a:schemeClr val="accent6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Nach welchem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Vorgehen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wird der Service erbracht?</a:t>
                      </a:r>
                    </a:p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elche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internen und externen Partner 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einbezogen?</a:t>
                      </a:r>
                    </a:p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ie gestaltet sich das Service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Berichtswesen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?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8470385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de-DE" sz="800" b="1" i="0" dirty="0">
                          <a:solidFill>
                            <a:schemeClr val="bg1"/>
                          </a:solidFill>
                        </a:rPr>
                        <a:t>Qualitätsmerkmale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F98A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Wingdings" pitchFamily="2" charset="2"/>
                        <a:buNone/>
                        <a:tabLst/>
                      </a:pPr>
                      <a:endParaRPr lang="de-DE" sz="800" b="1" i="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F98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8534185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elche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Verfügbarkeit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wird an den Service angelegt?</a:t>
                      </a:r>
                    </a:p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elche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Kapazitätsgrenzen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bestehen?</a:t>
                      </a:r>
                    </a:p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orin bestehen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Sicherheitsanforderungen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an den Service?</a:t>
                      </a:r>
                    </a:p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Welche </a:t>
                      </a:r>
                      <a:r>
                        <a:rPr lang="de-DE" sz="1050" i="1" u="sng" dirty="0">
                          <a:solidFill>
                            <a:schemeClr val="accent6"/>
                          </a:solidFill>
                        </a:rPr>
                        <a:t>Kontinuitätsanforderungen</a:t>
                      </a:r>
                      <a:r>
                        <a:rPr lang="de-DE" sz="1050" i="1" u="none" dirty="0">
                          <a:solidFill>
                            <a:schemeClr val="accent6"/>
                          </a:solidFill>
                        </a:rPr>
                        <a:t> bestehen?</a:t>
                      </a:r>
                      <a:r>
                        <a:rPr lang="de-DE" sz="1050" i="1" dirty="0">
                          <a:solidFill>
                            <a:schemeClr val="accent6"/>
                          </a:solidFill>
                        </a:rPr>
                        <a:t> 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7325" indent="-187325">
                        <a:buFont typeface="Wingdings" pitchFamily="2" charset="2"/>
                        <a:buChar char="§"/>
                        <a:tabLst/>
                      </a:pPr>
                      <a:endParaRPr lang="de-DE" sz="1050" i="1" dirty="0">
                        <a:solidFill>
                          <a:schemeClr val="accent6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F98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9206773"/>
                  </a:ext>
                </a:extLst>
              </a:tr>
            </a:tbl>
          </a:graphicData>
        </a:graphic>
      </p:graphicFrame>
      <p:pic>
        <p:nvPicPr>
          <p:cNvPr id="5" name="Graphic 4" descr="Gauge">
            <a:extLst>
              <a:ext uri="{FF2B5EF4-FFF2-40B4-BE49-F238E27FC236}">
                <a16:creationId xmlns:a16="http://schemas.microsoft.com/office/drawing/2014/main" id="{BA5674D4-4E22-D843-94D2-D2291C807C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55976" y="925954"/>
            <a:ext cx="180000" cy="180000"/>
          </a:xfrm>
          <a:prstGeom prst="rect">
            <a:avLst/>
          </a:prstGeom>
        </p:spPr>
      </p:pic>
      <p:pic>
        <p:nvPicPr>
          <p:cNvPr id="7" name="Graphic 6" descr="Man">
            <a:extLst>
              <a:ext uri="{FF2B5EF4-FFF2-40B4-BE49-F238E27FC236}">
                <a16:creationId xmlns:a16="http://schemas.microsoft.com/office/drawing/2014/main" id="{594DBACB-B944-FB48-8457-FB29E51A5FD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01884" y="925954"/>
            <a:ext cx="180000" cy="180000"/>
          </a:xfrm>
          <a:prstGeom prst="rect">
            <a:avLst/>
          </a:prstGeom>
        </p:spPr>
      </p:pic>
      <p:pic>
        <p:nvPicPr>
          <p:cNvPr id="9" name="Graphic 8" descr="Box trolley">
            <a:extLst>
              <a:ext uri="{FF2B5EF4-FFF2-40B4-BE49-F238E27FC236}">
                <a16:creationId xmlns:a16="http://schemas.microsoft.com/office/drawing/2014/main" id="{F99846C9-555F-8C48-84B5-D9D0F9B52DB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01884" y="2032074"/>
            <a:ext cx="180000" cy="180000"/>
          </a:xfrm>
          <a:prstGeom prst="rect">
            <a:avLst/>
          </a:prstGeom>
        </p:spPr>
      </p:pic>
      <p:pic>
        <p:nvPicPr>
          <p:cNvPr id="11" name="Graphic 10" descr="Stars">
            <a:extLst>
              <a:ext uri="{FF2B5EF4-FFF2-40B4-BE49-F238E27FC236}">
                <a16:creationId xmlns:a16="http://schemas.microsoft.com/office/drawing/2014/main" id="{9DAC7173-9B92-C042-93B7-0E8E387D56F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55976" y="3127679"/>
            <a:ext cx="180000" cy="180000"/>
          </a:xfrm>
          <a:prstGeom prst="rect">
            <a:avLst/>
          </a:prstGeom>
        </p:spPr>
      </p:pic>
      <p:pic>
        <p:nvPicPr>
          <p:cNvPr id="13" name="Graphic 12" descr="Database">
            <a:extLst>
              <a:ext uri="{FF2B5EF4-FFF2-40B4-BE49-F238E27FC236}">
                <a16:creationId xmlns:a16="http://schemas.microsoft.com/office/drawing/2014/main" id="{3C862F11-30C2-764E-BF03-77E9E53760D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355976" y="2032074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7671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202977-80CB-8D49-9114-5E34A0AD02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Wie können wir Ihnen helfen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7F89C0-AD47-2F41-ADB5-148CE4D47C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Sprechen Sie mit uns über Ihre Themen!</a:t>
            </a:r>
          </a:p>
        </p:txBody>
      </p:sp>
      <p:sp>
        <p:nvSpPr>
          <p:cNvPr id="9" name="Textfeld 7">
            <a:extLst>
              <a:ext uri="{FF2B5EF4-FFF2-40B4-BE49-F238E27FC236}">
                <a16:creationId xmlns:a16="http://schemas.microsoft.com/office/drawing/2014/main" id="{CF9ADDBA-443B-204E-B32A-778FA29DB81E}"/>
              </a:ext>
            </a:extLst>
          </p:cNvPr>
          <p:cNvSpPr txBox="1"/>
          <p:nvPr/>
        </p:nvSpPr>
        <p:spPr>
          <a:xfrm>
            <a:off x="457201" y="2582265"/>
            <a:ext cx="3486852" cy="19620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350" b="1" dirty="0">
                <a:solidFill>
                  <a:schemeClr val="accent6"/>
                </a:solidFill>
              </a:rPr>
              <a:t>Dr. Christopher Schulz</a:t>
            </a:r>
          </a:p>
          <a:p>
            <a:r>
              <a:rPr lang="de-DE" sz="1350" dirty="0">
                <a:solidFill>
                  <a:schemeClr val="accent6"/>
                </a:solidFill>
              </a:rPr>
              <a:t>Managing Director</a:t>
            </a:r>
          </a:p>
          <a:p>
            <a:endParaRPr lang="de-DE" sz="1350" dirty="0">
              <a:solidFill>
                <a:schemeClr val="accent6"/>
              </a:solidFill>
            </a:endParaRPr>
          </a:p>
          <a:p>
            <a:endParaRPr lang="de-DE" sz="1350" dirty="0">
              <a:solidFill>
                <a:schemeClr val="accent6"/>
              </a:solidFill>
            </a:endParaRPr>
          </a:p>
          <a:p>
            <a:endParaRPr lang="de-DE" sz="1350" dirty="0">
              <a:solidFill>
                <a:schemeClr val="accent6"/>
              </a:solidFill>
            </a:endParaRPr>
          </a:p>
          <a:p>
            <a:r>
              <a:rPr lang="de-DE" sz="1350" dirty="0">
                <a:solidFill>
                  <a:schemeClr val="accent6"/>
                </a:solidFill>
              </a:rPr>
              <a:t>Palladio Consulting GmbH &amp; Co. KG</a:t>
            </a:r>
          </a:p>
          <a:p>
            <a:r>
              <a:rPr lang="en-US" sz="1350" dirty="0">
                <a:solidFill>
                  <a:schemeClr val="accent6"/>
                </a:solidFill>
              </a:rPr>
              <a:t>Mobil:      +49 (0)176 </a:t>
            </a:r>
            <a:r>
              <a:rPr lang="de-DE" sz="1350" dirty="0">
                <a:solidFill>
                  <a:schemeClr val="accent6"/>
                </a:solidFill>
              </a:rPr>
              <a:t>493 47889</a:t>
            </a:r>
          </a:p>
          <a:p>
            <a:r>
              <a:rPr lang="de-DE" sz="1350" dirty="0">
                <a:solidFill>
                  <a:schemeClr val="accent6"/>
                </a:solidFill>
              </a:rPr>
              <a:t>E-Mail:     </a:t>
            </a:r>
            <a:r>
              <a:rPr lang="de-DE" sz="1350" dirty="0">
                <a:solidFill>
                  <a:schemeClr val="accent6"/>
                </a:solidFill>
                <a:hlinkClick r:id="rId2"/>
              </a:rPr>
              <a:t>c.schulz@palladio-consulting.de </a:t>
            </a:r>
            <a:endParaRPr lang="de-DE" sz="1350" dirty="0">
              <a:solidFill>
                <a:schemeClr val="accent6"/>
              </a:solidFill>
            </a:endParaRPr>
          </a:p>
          <a:p>
            <a:r>
              <a:rPr lang="de-DE" sz="1350" dirty="0">
                <a:solidFill>
                  <a:schemeClr val="accent6"/>
                </a:solidFill>
              </a:rPr>
              <a:t>Web:        </a:t>
            </a:r>
            <a:r>
              <a:rPr lang="de-DE" sz="1350" dirty="0">
                <a:solidFill>
                  <a:schemeClr val="accent6"/>
                </a:solidFill>
                <a:hlinkClick r:id="rId3"/>
              </a:rPr>
              <a:t>www.palladio-consulting.de</a:t>
            </a:r>
            <a:endParaRPr lang="de-DE" sz="1350" dirty="0">
              <a:solidFill>
                <a:schemeClr val="accent6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74B8FD3-DE57-F04F-8CE3-DD4FB0B74771}"/>
              </a:ext>
            </a:extLst>
          </p:cNvPr>
          <p:cNvSpPr/>
          <p:nvPr/>
        </p:nvSpPr>
        <p:spPr>
          <a:xfrm>
            <a:off x="3347864" y="1099915"/>
            <a:ext cx="5544615" cy="19620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>
              <a:buFont typeface="Wingdings" panose="05000000000000000000" pitchFamily="2" charset="2"/>
              <a:buChar char="Ø"/>
            </a:pPr>
            <a:r>
              <a:rPr lang="de-DE" sz="1350" b="1" dirty="0">
                <a:solidFill>
                  <a:schemeClr val="accent6"/>
                </a:solidFill>
              </a:rPr>
              <a:t>Sie möchten einen Service Katalog erstellen?</a:t>
            </a:r>
            <a:br>
              <a:rPr lang="de-DE" sz="1350" b="1" dirty="0">
                <a:solidFill>
                  <a:schemeClr val="accent6"/>
                </a:solidFill>
              </a:rPr>
            </a:br>
            <a:r>
              <a:rPr lang="de-DE" sz="1350" dirty="0">
                <a:solidFill>
                  <a:schemeClr val="accent6"/>
                </a:solidFill>
              </a:rPr>
              <a:t>Gerne beraten wir bei der Initiierung, Vorgehen &amp; Kommunikation.</a:t>
            </a:r>
            <a:br>
              <a:rPr lang="de-DE" sz="1350" dirty="0">
                <a:solidFill>
                  <a:schemeClr val="accent6"/>
                </a:solidFill>
              </a:rPr>
            </a:br>
            <a:endParaRPr lang="de-DE" sz="1350" dirty="0">
              <a:solidFill>
                <a:schemeClr val="accent6"/>
              </a:solidFill>
            </a:endParaRPr>
          </a:p>
          <a:p>
            <a:pPr marL="214313" indent="-214313">
              <a:buFont typeface="Wingdings" panose="05000000000000000000" pitchFamily="2" charset="2"/>
              <a:buChar char="Ø"/>
            </a:pPr>
            <a:r>
              <a:rPr lang="de-DE" sz="1350" b="1" dirty="0">
                <a:solidFill>
                  <a:schemeClr val="accent6"/>
                </a:solidFill>
              </a:rPr>
              <a:t>Sie suchen eine Software für das Katalog Management?</a:t>
            </a:r>
            <a:br>
              <a:rPr lang="de-DE" sz="1350" dirty="0">
                <a:solidFill>
                  <a:schemeClr val="accent6"/>
                </a:solidFill>
              </a:rPr>
            </a:br>
            <a:r>
              <a:rPr lang="de-DE" sz="1350" dirty="0">
                <a:solidFill>
                  <a:schemeClr val="accent6"/>
                </a:solidFill>
              </a:rPr>
              <a:t>Auf Basis Ihrer Anforderungen und Randbedingungen identifizieren wir für Sie das optimale Werkzeug.</a:t>
            </a:r>
            <a:br>
              <a:rPr lang="de-DE" sz="1350" dirty="0">
                <a:solidFill>
                  <a:schemeClr val="accent6"/>
                </a:solidFill>
              </a:rPr>
            </a:br>
            <a:endParaRPr lang="de-DE" sz="1350" dirty="0">
              <a:solidFill>
                <a:schemeClr val="accent6"/>
              </a:solidFill>
            </a:endParaRPr>
          </a:p>
          <a:p>
            <a:pPr marL="214313" indent="-214313">
              <a:buFont typeface="Wingdings" panose="05000000000000000000" pitchFamily="2" charset="2"/>
              <a:buChar char="Ø"/>
            </a:pPr>
            <a:r>
              <a:rPr lang="de-DE" sz="1350" b="1" dirty="0">
                <a:solidFill>
                  <a:schemeClr val="accent6"/>
                </a:solidFill>
              </a:rPr>
              <a:t>Sie benötigen Manpower und Fachwissen im Projekt?</a:t>
            </a:r>
            <a:br>
              <a:rPr lang="de-DE" sz="1350" dirty="0">
                <a:solidFill>
                  <a:schemeClr val="accent6"/>
                </a:solidFill>
              </a:rPr>
            </a:br>
            <a:r>
              <a:rPr lang="de-DE" sz="1350" dirty="0">
                <a:solidFill>
                  <a:schemeClr val="accent6"/>
                </a:solidFill>
              </a:rPr>
              <a:t>Wir freuen uns darauf, Ihr Vorhaben zum Erfolg zu bringen.</a:t>
            </a:r>
          </a:p>
        </p:txBody>
      </p:sp>
      <p:pic>
        <p:nvPicPr>
          <p:cNvPr id="7" name="Grafik 16">
            <a:extLst>
              <a:ext uri="{FF2B5EF4-FFF2-40B4-BE49-F238E27FC236}">
                <a16:creationId xmlns:a16="http://schemas.microsoft.com/office/drawing/2014/main" id="{301A4DA2-27BA-694C-B28B-1E2FD338D7BA}"/>
              </a:ext>
            </a:extLst>
          </p:cNvPr>
          <p:cNvPicPr>
            <a:picLocks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39552" y="1043606"/>
            <a:ext cx="1440000" cy="134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5199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Fyrum7ZE.QWsxDKTv5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Fyrum7ZE.QWsxDKTv5z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Fyrum7ZE.QWsxDKTv5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Fyrum7ZE.QWsxDKTv5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Fyrum7ZE.QWsxDKTv5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Fyrum7ZE.QWsxDKTv5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heme/theme1.xml><?xml version="1.0" encoding="utf-8"?>
<a:theme xmlns:a="http://schemas.openxmlformats.org/drawingml/2006/main" name="20150716_mosaiic_ppt_vorlage_16-9">
  <a:themeElements>
    <a:clrScheme name="mosaiic">
      <a:dk1>
        <a:srgbClr val="0F3F93"/>
      </a:dk1>
      <a:lt1>
        <a:sysClr val="window" lastClr="FFFFFF"/>
      </a:lt1>
      <a:dk2>
        <a:srgbClr val="7390C4"/>
      </a:dk2>
      <a:lt2>
        <a:srgbClr val="CECECE"/>
      </a:lt2>
      <a:accent1>
        <a:srgbClr val="8878C8"/>
      </a:accent1>
      <a:accent2>
        <a:srgbClr val="00AA72"/>
      </a:accent2>
      <a:accent3>
        <a:srgbClr val="FFC500"/>
      </a:accent3>
      <a:accent4>
        <a:srgbClr val="FF9900"/>
      </a:accent4>
      <a:accent5>
        <a:srgbClr val="C00000"/>
      </a:accent5>
      <a:accent6>
        <a:srgbClr val="4C5861"/>
      </a:accent6>
      <a:hlink>
        <a:srgbClr val="0F3F93"/>
      </a:hlink>
      <a:folHlink>
        <a:srgbClr val="FF990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arrow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2" id="{9462B410-8345-43D2-AA91-D34F6DAB239B}" vid="{D2DC1740-9005-45C6-833B-154B78348634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2DB87270E14B14ABE35478BAD0FBBC1" ma:contentTypeVersion="8" ma:contentTypeDescription="Create a new document." ma:contentTypeScope="" ma:versionID="eef3c0e4f60846d384dcfa2a1f210b21">
  <xsd:schema xmlns:xsd="http://www.w3.org/2001/XMLSchema" xmlns:xs="http://www.w3.org/2001/XMLSchema" xmlns:p="http://schemas.microsoft.com/office/2006/metadata/properties" xmlns:ns2="7eb85eb2-f6e4-495f-b292-0431dbc8946a" targetNamespace="http://schemas.microsoft.com/office/2006/metadata/properties" ma:root="true" ma:fieldsID="f37d8a35d7739fbc2dfb132cc954120d" ns2:_="">
    <xsd:import namespace="7eb85eb2-f6e4-495f-b292-0431dbc8946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b85eb2-f6e4-495f-b292-0431dbc8946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BCC4545-D46F-4621-835F-ABBC83D6FE6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1D1CC4B-270A-4D60-BD60-1E59C0B5A4F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eb85eb2-f6e4-495f-b292-0431dbc8946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8405715-1E55-459B-897F-EC9C0245E786}">
  <ds:schemaRefs>
    <ds:schemaRef ds:uri="7eb85eb2-f6e4-495f-b292-0431dbc8946a"/>
    <ds:schemaRef ds:uri="http://purl.org/dc/terms/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osaiic Folienvorlage mit PBK</Template>
  <TotalTime>1150</TotalTime>
  <Words>429</Words>
  <Application>Microsoft Macintosh PowerPoint</Application>
  <PresentationFormat>On-screen Show (16:9)</PresentationFormat>
  <Paragraphs>65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Arial Narrow</vt:lpstr>
      <vt:lpstr>Calibri</vt:lpstr>
      <vt:lpstr>Helvetica</vt:lpstr>
      <vt:lpstr>Wingdings</vt:lpstr>
      <vt:lpstr>20150716_mosaiic_ppt_vorlage_16-9</vt:lpstr>
      <vt:lpstr>think-cell Folie</vt:lpstr>
      <vt:lpstr>PowerPoint Presentation</vt:lpstr>
      <vt:lpstr>Steckbrief – Kundensicht</vt:lpstr>
      <vt:lpstr>Steckbrief – Anbietersicht</vt:lpstr>
      <vt:lpstr>Wie können wir Ihnen helfen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.smuda@palladio-consulting.de;c.schulz@palladio-consulting.de</dc:creator>
  <cp:lastModifiedBy>Microsoft Office User</cp:lastModifiedBy>
  <cp:revision>137</cp:revision>
  <dcterms:created xsi:type="dcterms:W3CDTF">2016-09-20T12:16:29Z</dcterms:created>
  <dcterms:modified xsi:type="dcterms:W3CDTF">2020-04-19T11:48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2DB87270E14B14ABE35478BAD0FBBC1</vt:lpwstr>
  </property>
</Properties>
</file>